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xlsm" ContentType="application/vnd.ms-excel.sheet.macroEnabled.12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1"/>
  </p:sldMasterIdLst>
  <p:notesMasterIdLst>
    <p:notesMasterId r:id="rId18"/>
  </p:notesMasterIdLst>
  <p:sldIdLst>
    <p:sldId id="276" r:id="rId2"/>
    <p:sldId id="300" r:id="rId3"/>
    <p:sldId id="293" r:id="rId4"/>
    <p:sldId id="294" r:id="rId5"/>
    <p:sldId id="298" r:id="rId6"/>
    <p:sldId id="281" r:id="rId7"/>
    <p:sldId id="270" r:id="rId8"/>
    <p:sldId id="282" r:id="rId9"/>
    <p:sldId id="283" r:id="rId10"/>
    <p:sldId id="286" r:id="rId11"/>
    <p:sldId id="302" r:id="rId12"/>
    <p:sldId id="297" r:id="rId13"/>
    <p:sldId id="299" r:id="rId14"/>
    <p:sldId id="290" r:id="rId15"/>
    <p:sldId id="301" r:id="rId16"/>
    <p:sldId id="292" r:id="rId17"/>
  </p:sldIdLst>
  <p:sldSz cx="12169775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3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AD0200"/>
    <a:srgbClr val="555555"/>
    <a:srgbClr val="FAEBDA"/>
    <a:srgbClr val="F7EBDC"/>
    <a:srgbClr val="677240"/>
    <a:srgbClr val="F0EEEA"/>
    <a:srgbClr val="9D8C70"/>
    <a:srgbClr val="E8EEF4"/>
    <a:srgbClr val="E8F8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Stijl, thema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Stijl, thema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73A0DAA-6AF3-43AB-8588-CEC1D06C72B9}" styleName="Stijl, gemiddeld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84E427A-3D55-4303-BF80-6455036E1DE7}" styleName="Stijl, thema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94"/>
    <p:restoredTop sz="94674"/>
  </p:normalViewPr>
  <p:slideViewPr>
    <p:cSldViewPr showGuides="1">
      <p:cViewPr>
        <p:scale>
          <a:sx n="110" d="100"/>
          <a:sy n="110" d="100"/>
        </p:scale>
        <p:origin x="2410" y="67"/>
      </p:cViewPr>
      <p:guideLst>
        <p:guide orient="horz" pos="2160"/>
        <p:guide pos="383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Macro-Enabled_Worksheet1.xlsm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Macro-Enabled_Worksheet2.xlsm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hPercent val="61"/>
      <c:rotY val="20"/>
      <c:depthPercent val="100"/>
      <c:rAngAx val="1"/>
    </c:view3D>
    <c:floor>
      <c:thickness val="0"/>
      <c:spPr>
        <a:solidFill>
          <a:srgbClr val="C0C0C0"/>
        </a:solidFill>
        <a:ln w="3175" cap="flat" cmpd="sng" algn="ctr">
          <a:solidFill>
            <a:srgbClr val="000000"/>
          </a:solidFill>
          <a:prstDash val="solid"/>
          <a:round/>
        </a:ln>
        <a:effectLst/>
        <a:sp3d contourW="3175">
          <a:contourClr>
            <a:srgbClr val="000000"/>
          </a:contourClr>
        </a:sp3d>
      </c:spPr>
    </c:floor>
    <c:sideWall>
      <c:thickness val="0"/>
      <c:spPr>
        <a:noFill/>
        <a:ln w="12700">
          <a:solidFill>
            <a:srgbClr val="000000"/>
          </a:solidFill>
          <a:prstDash val="solid"/>
        </a:ln>
        <a:effectLst/>
        <a:sp3d contourW="12700">
          <a:contourClr>
            <a:srgbClr val="000000"/>
          </a:contourClr>
        </a:sp3d>
      </c:spPr>
    </c:sideWall>
    <c:backWall>
      <c:thickness val="0"/>
      <c:spPr>
        <a:noFill/>
        <a:ln w="12700">
          <a:solidFill>
            <a:srgbClr val="000000"/>
          </a:solidFill>
          <a:prstDash val="solid"/>
        </a:ln>
        <a:effectLst/>
        <a:sp3d contourW="12700">
          <a:contourClr>
            <a:srgbClr val="000000"/>
          </a:contourClr>
        </a:sp3d>
      </c:spPr>
    </c:backWall>
    <c:plotArea>
      <c:layout>
        <c:manualLayout>
          <c:layoutTarget val="inner"/>
          <c:xMode val="edge"/>
          <c:yMode val="edge"/>
          <c:x val="5.8004640371229703E-2"/>
          <c:y val="3.4722222222222203E-2"/>
          <c:w val="0.92343387470997695"/>
          <c:h val="0.80208333333333304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Oos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Sheet1!$B$1:$E$1</c:f>
              <c:strCache>
                <c:ptCount val="4"/>
                <c:pt idx="0">
                  <c:v>1e kwrt</c:v>
                </c:pt>
                <c:pt idx="1">
                  <c:v>2e kwrt</c:v>
                </c:pt>
                <c:pt idx="2">
                  <c:v>3e kwrt</c:v>
                </c:pt>
                <c:pt idx="3">
                  <c:v>4e kwrt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8E0-0445-9CA3-0BE3E4656566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Wes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cat>
            <c:strRef>
              <c:f>Sheet1!$B$1:$E$1</c:f>
              <c:strCache>
                <c:ptCount val="4"/>
                <c:pt idx="0">
                  <c:v>1e kwrt</c:v>
                </c:pt>
                <c:pt idx="1">
                  <c:v>2e kwrt</c:v>
                </c:pt>
                <c:pt idx="2">
                  <c:v>3e kwrt</c:v>
                </c:pt>
                <c:pt idx="3">
                  <c:v>4e kwrt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30.6</c:v>
                </c:pt>
                <c:pt idx="1">
                  <c:v>38.6</c:v>
                </c:pt>
                <c:pt idx="2">
                  <c:v>34.6</c:v>
                </c:pt>
                <c:pt idx="3">
                  <c:v>31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8E0-0445-9CA3-0BE3E4656566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Noor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cat>
            <c:strRef>
              <c:f>Sheet1!$B$1:$E$1</c:f>
              <c:strCache>
                <c:ptCount val="4"/>
                <c:pt idx="0">
                  <c:v>1e kwrt</c:v>
                </c:pt>
                <c:pt idx="1">
                  <c:v>2e kwrt</c:v>
                </c:pt>
                <c:pt idx="2">
                  <c:v>3e kwrt</c:v>
                </c:pt>
                <c:pt idx="3">
                  <c:v>4e kwrt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45.9</c:v>
                </c:pt>
                <c:pt idx="1">
                  <c:v>46.9</c:v>
                </c:pt>
                <c:pt idx="2">
                  <c:v>45</c:v>
                </c:pt>
                <c:pt idx="3">
                  <c:v>43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8E0-0445-9CA3-0BE3E4656566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Zuid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  <a:sp3d/>
          </c:spPr>
          <c:invertIfNegative val="0"/>
          <c:cat>
            <c:strRef>
              <c:f>Sheet1!$B$1:$E$1</c:f>
              <c:strCache>
                <c:ptCount val="4"/>
                <c:pt idx="0">
                  <c:v>1e kwrt</c:v>
                </c:pt>
                <c:pt idx="1">
                  <c:v>2e kwrt</c:v>
                </c:pt>
                <c:pt idx="2">
                  <c:v>3e kwrt</c:v>
                </c:pt>
                <c:pt idx="3">
                  <c:v>4e kwrt</c:v>
                </c:pt>
              </c:strCache>
            </c:strRef>
          </c:cat>
          <c:val>
            <c:numRef>
              <c:f>Sheet1!$B$5:$E$5</c:f>
              <c:numCache>
                <c:formatCode>General</c:formatCode>
                <c:ptCount val="4"/>
                <c:pt idx="0">
                  <c:v>32.4</c:v>
                </c:pt>
                <c:pt idx="1">
                  <c:v>52.3</c:v>
                </c:pt>
                <c:pt idx="2">
                  <c:v>55.6</c:v>
                </c:pt>
                <c:pt idx="3">
                  <c:v>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78E0-0445-9CA3-0BE3E46565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gapDepth val="0"/>
        <c:shape val="box"/>
        <c:axId val="79786752"/>
        <c:axId val="79788288"/>
        <c:axId val="0"/>
      </c:bar3DChart>
      <c:catAx>
        <c:axId val="797867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3139" cap="flat" cmpd="sng" algn="ctr">
            <a:solidFill>
              <a:srgbClr val="000000"/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89" b="1" i="0" u="none" strike="noStrike" kern="1200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nl-NL"/>
          </a:p>
        </c:txPr>
        <c:crossAx val="797882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79788288"/>
        <c:scaling>
          <c:orientation val="minMax"/>
        </c:scaling>
        <c:delete val="0"/>
        <c:axPos val="l"/>
        <c:majorGridlines>
          <c:spPr>
            <a:ln w="3139" cap="flat" cmpd="sng" algn="ctr">
              <a:solidFill>
                <a:srgbClr val="000000"/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3139" cap="flat" cmpd="sng" algn="ctr">
            <a:solidFill>
              <a:srgbClr val="000000"/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89" b="1" i="0" u="none" strike="noStrike" kern="1200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nl-NL"/>
          </a:p>
        </c:txPr>
        <c:crossAx val="79786752"/>
        <c:crosses val="autoZero"/>
        <c:crossBetween val="between"/>
      </c:valAx>
      <c:spPr>
        <a:noFill/>
        <a:ln w="25110">
          <a:noFill/>
        </a:ln>
        <a:effectLst/>
      </c:spPr>
    </c:plotArea>
    <c:legend>
      <c:legendPos val="b"/>
      <c:layout>
        <c:manualLayout>
          <c:xMode val="edge"/>
          <c:yMode val="edge"/>
          <c:x val="0.25522041763341102"/>
          <c:y val="0.9375"/>
          <c:w val="0.56844547563805103"/>
          <c:h val="5.9027777777777797E-2"/>
        </c:manualLayout>
      </c:layout>
      <c:overlay val="0"/>
      <c:spPr>
        <a:noFill/>
        <a:ln w="25110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10" b="1" i="0" u="none" strike="noStrike" kern="1200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nl-NL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779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nl-NL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25"/>
      <c:rotY val="0"/>
      <c:rAngAx val="0"/>
      <c:perspective val="0"/>
    </c:view3D>
    <c:floor>
      <c:thickness val="0"/>
      <c:spPr>
        <a:noFill/>
        <a:ln w="9525" cap="flat" cmpd="sng" algn="ctr">
          <a:solidFill>
            <a:schemeClr val="tx1">
              <a:tint val="75000"/>
              <a:shade val="95000"/>
              <a:satMod val="105000"/>
            </a:schemeClr>
          </a:solidFill>
          <a:prstDash val="solid"/>
          <a:round/>
        </a:ln>
        <a:effectLst/>
        <a:sp3d contourW="9525">
          <a:contourClr>
            <a:schemeClr val="tx1">
              <a:tint val="75000"/>
              <a:shade val="95000"/>
              <a:satMod val="10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8723897911833E-2"/>
          <c:y val="6.5972222222222196E-2"/>
          <c:w val="0.87238979118329496"/>
          <c:h val="0.72222222222222199"/>
        </c:manualLayout>
      </c:layout>
      <c:pie3D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Oost</c:v>
                </c:pt>
              </c:strCache>
            </c:strRef>
          </c:tx>
          <c:explosion val="19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6072-2642-88D9-079F7F1ED38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6072-2642-88D9-079F7F1ED38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6072-2642-88D9-079F7F1ED38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6072-2642-88D9-079F7F1ED386}"/>
              </c:ext>
            </c:extLst>
          </c:dPt>
          <c:dLbls>
            <c:dLbl>
              <c:idx val="0"/>
              <c:layout>
                <c:manualLayout>
                  <c:x val="-6.0006659218286802E-2"/>
                  <c:y val="0.115554198896944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072-2642-88D9-079F7F1ED386}"/>
                </c:ext>
              </c:extLst>
            </c:dLbl>
            <c:dLbl>
              <c:idx val="1"/>
              <c:layout>
                <c:manualLayout>
                  <c:x val="-9.0716095594048696E-2"/>
                  <c:y val="1.606049464081309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072-2642-88D9-079F7F1ED386}"/>
                </c:ext>
              </c:extLst>
            </c:dLbl>
            <c:dLbl>
              <c:idx val="2"/>
              <c:layout>
                <c:manualLayout>
                  <c:x val="8.1658374981632004E-2"/>
                  <c:y val="-0.2635296402927609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072-2642-88D9-079F7F1ED386}"/>
                </c:ext>
              </c:extLst>
            </c:dLbl>
            <c:dLbl>
              <c:idx val="3"/>
              <c:layout>
                <c:manualLayout>
                  <c:x val="5.46310448626783E-2"/>
                  <c:y val="0.1331753442713929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072-2642-88D9-079F7F1ED386}"/>
                </c:ext>
              </c:extLst>
            </c:dLbl>
            <c:numFmt formatCode="0%" sourceLinked="0"/>
            <c:spPr>
              <a:noFill/>
              <a:ln w="2503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774" b="1" i="0" u="none" strike="noStrike" kern="1200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nl-NL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B$1:$E$1</c:f>
              <c:strCache>
                <c:ptCount val="4"/>
                <c:pt idx="0">
                  <c:v>1e kwrt</c:v>
                </c:pt>
                <c:pt idx="1">
                  <c:v>2e kwrt</c:v>
                </c:pt>
                <c:pt idx="2">
                  <c:v>3e kwrt</c:v>
                </c:pt>
                <c:pt idx="3">
                  <c:v>4e kwrt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0.399999999999999</c:v>
                </c:pt>
                <c:pt idx="1">
                  <c:v>27.4</c:v>
                </c:pt>
                <c:pt idx="2">
                  <c:v>90</c:v>
                </c:pt>
                <c:pt idx="3">
                  <c:v>20.39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6072-2642-88D9-079F7F1ED386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 w="25035">
          <a:noFill/>
        </a:ln>
        <a:effectLst/>
      </c:spPr>
    </c:plotArea>
    <c:legend>
      <c:legendPos val="b"/>
      <c:layout>
        <c:manualLayout>
          <c:xMode val="edge"/>
          <c:yMode val="edge"/>
          <c:x val="0.23433874709976801"/>
          <c:y val="0.89236111111111105"/>
          <c:w val="0.56844547563805103"/>
          <c:h val="5.9027777777777797E-2"/>
        </c:manualLayout>
      </c:layout>
      <c:overlay val="0"/>
      <c:spPr>
        <a:noFill/>
        <a:ln w="25035"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95" b="1" i="0" u="none" strike="noStrike" kern="1200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nl-NL"/>
        </a:p>
      </c:txPr>
    </c:legend>
    <c:plotVisOnly val="1"/>
    <c:dispBlanksAs val="zero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774" b="1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nl-NL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E841534-4E88-604E-8DDF-F889D761C63B}" type="doc">
      <dgm:prSet loTypeId="urn:microsoft.com/office/officeart/2005/8/layout/hChevron3" loCatId="" qsTypeId="urn:microsoft.com/office/officeart/2005/8/quickstyle/simple1" qsCatId="simple" csTypeId="urn:microsoft.com/office/officeart/2005/8/colors/accent1_2" csCatId="accent1" phldr="1"/>
      <dgm:spPr/>
    </dgm:pt>
    <dgm:pt modelId="{4571F141-7F2A-8043-A817-5E2476508C6A}">
      <dgm:prSet phldrT="[Tekst]" custT="1"/>
      <dgm:spPr>
        <a:solidFill>
          <a:schemeClr val="tx2"/>
        </a:solidFill>
        <a:ln>
          <a:solidFill>
            <a:srgbClr val="FFFFFF"/>
          </a:solidFill>
        </a:ln>
      </dgm:spPr>
      <dgm:t>
        <a:bodyPr/>
        <a:lstStyle/>
        <a:p>
          <a:r>
            <a:rPr lang="nl-NL" sz="1600" dirty="0" err="1">
              <a:solidFill>
                <a:srgbClr val="FFFFFF"/>
              </a:solidFill>
            </a:rPr>
            <a:t>Components</a:t>
          </a:r>
          <a:endParaRPr lang="nl-NL" sz="1600" dirty="0">
            <a:solidFill>
              <a:srgbClr val="FFFFFF"/>
            </a:solidFill>
          </a:endParaRPr>
        </a:p>
      </dgm:t>
    </dgm:pt>
    <dgm:pt modelId="{6EFC56B8-F9D2-244E-85DE-A16474B203AD}" type="parTrans" cxnId="{4AA7EFD5-DC05-0C47-B5C5-01B896B55FE8}">
      <dgm:prSet/>
      <dgm:spPr/>
      <dgm:t>
        <a:bodyPr/>
        <a:lstStyle/>
        <a:p>
          <a:endParaRPr lang="nl-NL"/>
        </a:p>
      </dgm:t>
    </dgm:pt>
    <dgm:pt modelId="{E6AA04BD-7954-E44C-9EDB-0421BB24A8C7}" type="sibTrans" cxnId="{4AA7EFD5-DC05-0C47-B5C5-01B896B55FE8}">
      <dgm:prSet/>
      <dgm:spPr/>
      <dgm:t>
        <a:bodyPr/>
        <a:lstStyle/>
        <a:p>
          <a:endParaRPr lang="nl-NL"/>
        </a:p>
      </dgm:t>
    </dgm:pt>
    <dgm:pt modelId="{14102E30-BAF7-EE4C-B938-6BD44868148F}">
      <dgm:prSet phldrT="[Tekst]" custT="1"/>
      <dgm:spPr>
        <a:solidFill>
          <a:schemeClr val="tx2"/>
        </a:solidFill>
        <a:ln>
          <a:solidFill>
            <a:srgbClr val="FFFFFF"/>
          </a:solidFill>
        </a:ln>
      </dgm:spPr>
      <dgm:t>
        <a:bodyPr/>
        <a:lstStyle/>
        <a:p>
          <a:r>
            <a:rPr lang="nl-NL" sz="1600" dirty="0" err="1">
              <a:solidFill>
                <a:srgbClr val="FFFFFF"/>
              </a:solidFill>
            </a:rPr>
            <a:t>Battery</a:t>
          </a:r>
          <a:r>
            <a:rPr lang="nl-NL" sz="1600" dirty="0">
              <a:solidFill>
                <a:srgbClr val="FFFFFF"/>
              </a:solidFill>
            </a:rPr>
            <a:t> </a:t>
          </a:r>
          <a:r>
            <a:rPr lang="nl-NL" sz="1600" dirty="0" err="1">
              <a:solidFill>
                <a:srgbClr val="FFFFFF"/>
              </a:solidFill>
            </a:rPr>
            <a:t>cells</a:t>
          </a:r>
          <a:endParaRPr lang="nl-NL" sz="1600" dirty="0">
            <a:solidFill>
              <a:srgbClr val="FFFFFF"/>
            </a:solidFill>
          </a:endParaRPr>
        </a:p>
      </dgm:t>
    </dgm:pt>
    <dgm:pt modelId="{696B2205-4B85-AD4B-8EA2-2D6DE8FF1894}" type="parTrans" cxnId="{9E5B8007-EDA1-AB4A-A522-C934CC09F9E7}">
      <dgm:prSet/>
      <dgm:spPr/>
      <dgm:t>
        <a:bodyPr/>
        <a:lstStyle/>
        <a:p>
          <a:endParaRPr lang="nl-NL"/>
        </a:p>
      </dgm:t>
    </dgm:pt>
    <dgm:pt modelId="{AF32041A-CCDC-494D-BE9A-030AD6B592DD}" type="sibTrans" cxnId="{9E5B8007-EDA1-AB4A-A522-C934CC09F9E7}">
      <dgm:prSet/>
      <dgm:spPr/>
      <dgm:t>
        <a:bodyPr/>
        <a:lstStyle/>
        <a:p>
          <a:endParaRPr lang="nl-NL"/>
        </a:p>
      </dgm:t>
    </dgm:pt>
    <dgm:pt modelId="{7AA44CD6-1F89-E242-99C4-BDC418CA436E}">
      <dgm:prSet phldrT="[Tekst]" custT="1"/>
      <dgm:spPr>
        <a:solidFill>
          <a:schemeClr val="tx2"/>
        </a:solidFill>
        <a:ln>
          <a:solidFill>
            <a:srgbClr val="FFFFFF"/>
          </a:solidFill>
        </a:ln>
      </dgm:spPr>
      <dgm:t>
        <a:bodyPr/>
        <a:lstStyle/>
        <a:p>
          <a:r>
            <a:rPr lang="nl-NL" sz="1600" dirty="0" err="1">
              <a:solidFill>
                <a:srgbClr val="FFFFFF"/>
              </a:solidFill>
            </a:rPr>
            <a:t>Battery</a:t>
          </a:r>
          <a:r>
            <a:rPr lang="nl-NL" sz="1600" dirty="0">
              <a:solidFill>
                <a:srgbClr val="FFFFFF"/>
              </a:solidFill>
            </a:rPr>
            <a:t> modules</a:t>
          </a:r>
        </a:p>
      </dgm:t>
    </dgm:pt>
    <dgm:pt modelId="{CA2D2953-1120-3240-9E0E-FB2BE7A4925B}" type="parTrans" cxnId="{B5EC7CCA-1C49-8B46-9B92-0389F7157886}">
      <dgm:prSet/>
      <dgm:spPr/>
      <dgm:t>
        <a:bodyPr/>
        <a:lstStyle/>
        <a:p>
          <a:endParaRPr lang="nl-NL"/>
        </a:p>
      </dgm:t>
    </dgm:pt>
    <dgm:pt modelId="{E8F2CEEF-F82F-5544-98C1-ABFD55302DB9}" type="sibTrans" cxnId="{B5EC7CCA-1C49-8B46-9B92-0389F7157886}">
      <dgm:prSet/>
      <dgm:spPr/>
      <dgm:t>
        <a:bodyPr/>
        <a:lstStyle/>
        <a:p>
          <a:endParaRPr lang="nl-NL"/>
        </a:p>
      </dgm:t>
    </dgm:pt>
    <dgm:pt modelId="{7CEE94FA-BD12-8F47-B5E5-A00C4C9B8FD4}">
      <dgm:prSet custT="1"/>
      <dgm:spPr>
        <a:solidFill>
          <a:schemeClr val="tx2"/>
        </a:solidFill>
        <a:ln>
          <a:solidFill>
            <a:srgbClr val="FFFFFF"/>
          </a:solidFill>
        </a:ln>
      </dgm:spPr>
      <dgm:t>
        <a:bodyPr/>
        <a:lstStyle/>
        <a:p>
          <a:r>
            <a:rPr lang="nl-NL" sz="1600" dirty="0" err="1">
              <a:solidFill>
                <a:srgbClr val="FFFFFF"/>
              </a:solidFill>
            </a:rPr>
            <a:t>Battery</a:t>
          </a:r>
          <a:r>
            <a:rPr lang="nl-NL" sz="1600" dirty="0">
              <a:solidFill>
                <a:srgbClr val="FFFFFF"/>
              </a:solidFill>
            </a:rPr>
            <a:t> pack</a:t>
          </a:r>
        </a:p>
      </dgm:t>
    </dgm:pt>
    <dgm:pt modelId="{516521E1-B50D-4548-8140-B2E08B566791}" type="parTrans" cxnId="{1AE68B2C-3D14-1A46-955E-5B55DF3E6700}">
      <dgm:prSet/>
      <dgm:spPr/>
      <dgm:t>
        <a:bodyPr/>
        <a:lstStyle/>
        <a:p>
          <a:endParaRPr lang="nl-NL"/>
        </a:p>
      </dgm:t>
    </dgm:pt>
    <dgm:pt modelId="{EAB9BD36-FAE7-E046-8FB4-4DC8F27D49A1}" type="sibTrans" cxnId="{1AE68B2C-3D14-1A46-955E-5B55DF3E6700}">
      <dgm:prSet/>
      <dgm:spPr/>
      <dgm:t>
        <a:bodyPr/>
        <a:lstStyle/>
        <a:p>
          <a:endParaRPr lang="nl-NL"/>
        </a:p>
      </dgm:t>
    </dgm:pt>
    <dgm:pt modelId="{42EE21A4-D8B8-E94D-BD7E-B9DD031ABFA8}" type="pres">
      <dgm:prSet presAssocID="{EE841534-4E88-604E-8DDF-F889D761C63B}" presName="Name0" presStyleCnt="0">
        <dgm:presLayoutVars>
          <dgm:dir/>
          <dgm:resizeHandles val="exact"/>
        </dgm:presLayoutVars>
      </dgm:prSet>
      <dgm:spPr/>
    </dgm:pt>
    <dgm:pt modelId="{6B4F8B28-4FB7-5D40-A63D-10A1413DDFC8}" type="pres">
      <dgm:prSet presAssocID="{4571F141-7F2A-8043-A817-5E2476508C6A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972D4F02-903A-D241-8550-19104ABC2176}" type="pres">
      <dgm:prSet presAssocID="{E6AA04BD-7954-E44C-9EDB-0421BB24A8C7}" presName="parSpace" presStyleCnt="0"/>
      <dgm:spPr/>
    </dgm:pt>
    <dgm:pt modelId="{F9230D9D-87A9-5841-B1E4-0C309B0B9630}" type="pres">
      <dgm:prSet presAssocID="{14102E30-BAF7-EE4C-B938-6BD44868148F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106D2E09-375D-D041-9A84-789747EB3570}" type="pres">
      <dgm:prSet presAssocID="{AF32041A-CCDC-494D-BE9A-030AD6B592DD}" presName="parSpace" presStyleCnt="0"/>
      <dgm:spPr/>
    </dgm:pt>
    <dgm:pt modelId="{8DA9748F-4E2F-DE41-958A-D7AD6B8E6C1A}" type="pres">
      <dgm:prSet presAssocID="{7AA44CD6-1F89-E242-99C4-BDC418CA436E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  <dgm:pt modelId="{8F090F17-39A3-7E4F-BE68-2B97526E5712}" type="pres">
      <dgm:prSet presAssocID="{E8F2CEEF-F82F-5544-98C1-ABFD55302DB9}" presName="parSpace" presStyleCnt="0"/>
      <dgm:spPr/>
    </dgm:pt>
    <dgm:pt modelId="{D9194C8A-8C73-2440-8B7C-C5C87B0BDA94}" type="pres">
      <dgm:prSet presAssocID="{7CEE94FA-BD12-8F47-B5E5-A00C4C9B8FD4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nl-NL"/>
        </a:p>
      </dgm:t>
    </dgm:pt>
  </dgm:ptLst>
  <dgm:cxnLst>
    <dgm:cxn modelId="{1AE68B2C-3D14-1A46-955E-5B55DF3E6700}" srcId="{EE841534-4E88-604E-8DDF-F889D761C63B}" destId="{7CEE94FA-BD12-8F47-B5E5-A00C4C9B8FD4}" srcOrd="3" destOrd="0" parTransId="{516521E1-B50D-4548-8140-B2E08B566791}" sibTransId="{EAB9BD36-FAE7-E046-8FB4-4DC8F27D49A1}"/>
    <dgm:cxn modelId="{B5EC7CCA-1C49-8B46-9B92-0389F7157886}" srcId="{EE841534-4E88-604E-8DDF-F889D761C63B}" destId="{7AA44CD6-1F89-E242-99C4-BDC418CA436E}" srcOrd="2" destOrd="0" parTransId="{CA2D2953-1120-3240-9E0E-FB2BE7A4925B}" sibTransId="{E8F2CEEF-F82F-5544-98C1-ABFD55302DB9}"/>
    <dgm:cxn modelId="{D9578AA9-1994-864E-97C5-305306F4D747}" type="presOf" srcId="{EE841534-4E88-604E-8DDF-F889D761C63B}" destId="{42EE21A4-D8B8-E94D-BD7E-B9DD031ABFA8}" srcOrd="0" destOrd="0" presId="urn:microsoft.com/office/officeart/2005/8/layout/hChevron3"/>
    <dgm:cxn modelId="{9E5B8007-EDA1-AB4A-A522-C934CC09F9E7}" srcId="{EE841534-4E88-604E-8DDF-F889D761C63B}" destId="{14102E30-BAF7-EE4C-B938-6BD44868148F}" srcOrd="1" destOrd="0" parTransId="{696B2205-4B85-AD4B-8EA2-2D6DE8FF1894}" sibTransId="{AF32041A-CCDC-494D-BE9A-030AD6B592DD}"/>
    <dgm:cxn modelId="{42EDF452-00AC-8E49-915E-4A608A1A0248}" type="presOf" srcId="{7CEE94FA-BD12-8F47-B5E5-A00C4C9B8FD4}" destId="{D9194C8A-8C73-2440-8B7C-C5C87B0BDA94}" srcOrd="0" destOrd="0" presId="urn:microsoft.com/office/officeart/2005/8/layout/hChevron3"/>
    <dgm:cxn modelId="{4AA7EFD5-DC05-0C47-B5C5-01B896B55FE8}" srcId="{EE841534-4E88-604E-8DDF-F889D761C63B}" destId="{4571F141-7F2A-8043-A817-5E2476508C6A}" srcOrd="0" destOrd="0" parTransId="{6EFC56B8-F9D2-244E-85DE-A16474B203AD}" sibTransId="{E6AA04BD-7954-E44C-9EDB-0421BB24A8C7}"/>
    <dgm:cxn modelId="{FF503B68-133C-6142-B648-4350AF7FF9C0}" type="presOf" srcId="{7AA44CD6-1F89-E242-99C4-BDC418CA436E}" destId="{8DA9748F-4E2F-DE41-958A-D7AD6B8E6C1A}" srcOrd="0" destOrd="0" presId="urn:microsoft.com/office/officeart/2005/8/layout/hChevron3"/>
    <dgm:cxn modelId="{19D05E3B-7776-AD43-95F8-921E1CAC19EF}" type="presOf" srcId="{4571F141-7F2A-8043-A817-5E2476508C6A}" destId="{6B4F8B28-4FB7-5D40-A63D-10A1413DDFC8}" srcOrd="0" destOrd="0" presId="urn:microsoft.com/office/officeart/2005/8/layout/hChevron3"/>
    <dgm:cxn modelId="{82B061B2-DD1E-F042-B7E0-FC508AE6AD57}" type="presOf" srcId="{14102E30-BAF7-EE4C-B938-6BD44868148F}" destId="{F9230D9D-87A9-5841-B1E4-0C309B0B9630}" srcOrd="0" destOrd="0" presId="urn:microsoft.com/office/officeart/2005/8/layout/hChevron3"/>
    <dgm:cxn modelId="{C14521D7-87DA-3C4E-A04A-47F1966A8054}" type="presParOf" srcId="{42EE21A4-D8B8-E94D-BD7E-B9DD031ABFA8}" destId="{6B4F8B28-4FB7-5D40-A63D-10A1413DDFC8}" srcOrd="0" destOrd="0" presId="urn:microsoft.com/office/officeart/2005/8/layout/hChevron3"/>
    <dgm:cxn modelId="{5C946453-E6EB-0D44-8CDF-CDB8B35F253F}" type="presParOf" srcId="{42EE21A4-D8B8-E94D-BD7E-B9DD031ABFA8}" destId="{972D4F02-903A-D241-8550-19104ABC2176}" srcOrd="1" destOrd="0" presId="urn:microsoft.com/office/officeart/2005/8/layout/hChevron3"/>
    <dgm:cxn modelId="{536DA3BC-A0A8-6F49-9BA5-2875F3A3D071}" type="presParOf" srcId="{42EE21A4-D8B8-E94D-BD7E-B9DD031ABFA8}" destId="{F9230D9D-87A9-5841-B1E4-0C309B0B9630}" srcOrd="2" destOrd="0" presId="urn:microsoft.com/office/officeart/2005/8/layout/hChevron3"/>
    <dgm:cxn modelId="{E34E7BF0-DE4B-0F43-8A3A-2405CC98F266}" type="presParOf" srcId="{42EE21A4-D8B8-E94D-BD7E-B9DD031ABFA8}" destId="{106D2E09-375D-D041-9A84-789747EB3570}" srcOrd="3" destOrd="0" presId="urn:microsoft.com/office/officeart/2005/8/layout/hChevron3"/>
    <dgm:cxn modelId="{B98FE5AF-71BE-D14E-9B30-C63A6DD95AC7}" type="presParOf" srcId="{42EE21A4-D8B8-E94D-BD7E-B9DD031ABFA8}" destId="{8DA9748F-4E2F-DE41-958A-D7AD6B8E6C1A}" srcOrd="4" destOrd="0" presId="urn:microsoft.com/office/officeart/2005/8/layout/hChevron3"/>
    <dgm:cxn modelId="{9FFDC933-A493-9B46-9AC5-2E8EA3C6BD74}" type="presParOf" srcId="{42EE21A4-D8B8-E94D-BD7E-B9DD031ABFA8}" destId="{8F090F17-39A3-7E4F-BE68-2B97526E5712}" srcOrd="5" destOrd="0" presId="urn:microsoft.com/office/officeart/2005/8/layout/hChevron3"/>
    <dgm:cxn modelId="{BBF0F499-1FA7-DF47-9E66-0957C35AB52A}" type="presParOf" srcId="{42EE21A4-D8B8-E94D-BD7E-B9DD031ABFA8}" destId="{D9194C8A-8C73-2440-8B7C-C5C87B0BDA94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95B7E95-4084-4622-8BA0-6E54EC8EA4CE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NL"/>
        </a:p>
      </dgm:t>
    </dgm:pt>
    <dgm:pt modelId="{CF6519F7-07BF-4B50-B32D-E5581A51D41F}">
      <dgm:prSet/>
      <dgm:spPr/>
      <dgm:t>
        <a:bodyPr/>
        <a:lstStyle/>
        <a:p>
          <a:pPr rtl="0"/>
          <a:r>
            <a:rPr lang="nl-NL" b="0" i="0" dirty="0" smtClean="0"/>
            <a:t>Defect op cel niveau, interne lagen maken kortsluiting met hitte, vlammen en rook.</a:t>
          </a:r>
          <a:endParaRPr lang="nl-NL" dirty="0"/>
        </a:p>
      </dgm:t>
    </dgm:pt>
    <dgm:pt modelId="{D6B9ADA4-865C-4C32-9F92-B08561F8D520}" type="parTrans" cxnId="{6F15BE06-4118-4366-8970-710C56982506}">
      <dgm:prSet/>
      <dgm:spPr/>
      <dgm:t>
        <a:bodyPr/>
        <a:lstStyle/>
        <a:p>
          <a:endParaRPr lang="nl-NL"/>
        </a:p>
      </dgm:t>
    </dgm:pt>
    <dgm:pt modelId="{9A4AAEED-67DD-49D3-91E9-F48941535031}" type="sibTrans" cxnId="{6F15BE06-4118-4366-8970-710C56982506}">
      <dgm:prSet/>
      <dgm:spPr/>
      <dgm:t>
        <a:bodyPr/>
        <a:lstStyle/>
        <a:p>
          <a:endParaRPr lang="nl-NL"/>
        </a:p>
      </dgm:t>
    </dgm:pt>
    <dgm:pt modelId="{90B9CEF9-15B8-4855-9771-7178A553CC94}">
      <dgm:prSet/>
      <dgm:spPr/>
      <dgm:t>
        <a:bodyPr/>
        <a:lstStyle/>
        <a:p>
          <a:pPr rtl="0"/>
          <a:r>
            <a:rPr lang="nl-NL" b="0" i="0" smtClean="0"/>
            <a:t>Defect op batterij pack niveau.</a:t>
          </a:r>
          <a:endParaRPr lang="nl-NL"/>
        </a:p>
      </dgm:t>
    </dgm:pt>
    <dgm:pt modelId="{A75F19BF-A9BF-4EB7-ADF3-33C32BFE443C}" type="parTrans" cxnId="{8901BA3B-866D-4B9D-8288-757059B7A6F0}">
      <dgm:prSet/>
      <dgm:spPr/>
      <dgm:t>
        <a:bodyPr/>
        <a:lstStyle/>
        <a:p>
          <a:endParaRPr lang="nl-NL"/>
        </a:p>
      </dgm:t>
    </dgm:pt>
    <dgm:pt modelId="{00234945-0B30-4198-B8C1-79454F06E612}" type="sibTrans" cxnId="{8901BA3B-866D-4B9D-8288-757059B7A6F0}">
      <dgm:prSet/>
      <dgm:spPr/>
      <dgm:t>
        <a:bodyPr/>
        <a:lstStyle/>
        <a:p>
          <a:endParaRPr lang="nl-NL"/>
        </a:p>
      </dgm:t>
    </dgm:pt>
    <dgm:pt modelId="{BC2D7469-6395-4F4E-8090-691C41BFC2B2}">
      <dgm:prSet/>
      <dgm:spPr/>
      <dgm:t>
        <a:bodyPr/>
        <a:lstStyle/>
        <a:p>
          <a:pPr rtl="0"/>
          <a:r>
            <a:rPr lang="nl-NL" b="0" i="0" dirty="0" smtClean="0"/>
            <a:t>Vuur verspreidt van de ene naar de volgende batterij cel.</a:t>
          </a:r>
          <a:endParaRPr lang="nl-NL" dirty="0"/>
        </a:p>
      </dgm:t>
    </dgm:pt>
    <dgm:pt modelId="{162FAE8E-B1D4-409F-9419-4BF69F885AED}" type="parTrans" cxnId="{CCE23A72-E444-41DE-8924-85D1E9A48A12}">
      <dgm:prSet/>
      <dgm:spPr/>
      <dgm:t>
        <a:bodyPr/>
        <a:lstStyle/>
        <a:p>
          <a:endParaRPr lang="nl-NL"/>
        </a:p>
      </dgm:t>
    </dgm:pt>
    <dgm:pt modelId="{2EE07376-F85B-4034-9514-A41F74C7E2C6}" type="sibTrans" cxnId="{CCE23A72-E444-41DE-8924-85D1E9A48A12}">
      <dgm:prSet/>
      <dgm:spPr/>
      <dgm:t>
        <a:bodyPr/>
        <a:lstStyle/>
        <a:p>
          <a:endParaRPr lang="nl-NL"/>
        </a:p>
      </dgm:t>
    </dgm:pt>
    <dgm:pt modelId="{2BFA04DB-A169-4464-8AB1-D45D1E6D0733}">
      <dgm:prSet/>
      <dgm:spPr/>
      <dgm:t>
        <a:bodyPr/>
        <a:lstStyle/>
        <a:p>
          <a:pPr rtl="0"/>
          <a:r>
            <a:rPr lang="nl-NL" b="0" i="0" dirty="0" smtClean="0"/>
            <a:t>Grote brand tot gevolg.</a:t>
          </a:r>
          <a:endParaRPr lang="nl-NL" dirty="0"/>
        </a:p>
      </dgm:t>
    </dgm:pt>
    <dgm:pt modelId="{D3BCBC47-D5EC-4BE3-9E20-5015CAFA255B}" type="parTrans" cxnId="{1700DF08-F3C7-427B-8002-3ECD8C7CD566}">
      <dgm:prSet/>
      <dgm:spPr/>
      <dgm:t>
        <a:bodyPr/>
        <a:lstStyle/>
        <a:p>
          <a:endParaRPr lang="nl-NL"/>
        </a:p>
      </dgm:t>
    </dgm:pt>
    <dgm:pt modelId="{A631EB71-2256-46AE-BFA3-CAC1BA7ED7CB}" type="sibTrans" cxnId="{1700DF08-F3C7-427B-8002-3ECD8C7CD566}">
      <dgm:prSet/>
      <dgm:spPr/>
      <dgm:t>
        <a:bodyPr/>
        <a:lstStyle/>
        <a:p>
          <a:endParaRPr lang="nl-NL"/>
        </a:p>
      </dgm:t>
    </dgm:pt>
    <dgm:pt modelId="{058A4EA0-C713-44E5-9A3D-D1BB661494D7}" type="pres">
      <dgm:prSet presAssocID="{895B7E95-4084-4622-8BA0-6E54EC8EA4CE}" presName="Name0" presStyleCnt="0">
        <dgm:presLayoutVars>
          <dgm:dir/>
          <dgm:resizeHandles val="exact"/>
        </dgm:presLayoutVars>
      </dgm:prSet>
      <dgm:spPr/>
    </dgm:pt>
    <dgm:pt modelId="{8A48809F-8002-4D36-ADB8-3E3A37E55291}" type="pres">
      <dgm:prSet presAssocID="{895B7E95-4084-4622-8BA0-6E54EC8EA4CE}" presName="arrow" presStyleLbl="bgShp" presStyleIdx="0" presStyleCnt="1"/>
      <dgm:spPr/>
    </dgm:pt>
    <dgm:pt modelId="{0453A981-FEAA-42B5-B35C-73DB999F5750}" type="pres">
      <dgm:prSet presAssocID="{895B7E95-4084-4622-8BA0-6E54EC8EA4CE}" presName="points" presStyleCnt="0"/>
      <dgm:spPr/>
    </dgm:pt>
    <dgm:pt modelId="{E75BE29C-AC1C-492A-9BF6-570AC1932AD3}" type="pres">
      <dgm:prSet presAssocID="{CF6519F7-07BF-4B50-B32D-E5581A51D41F}" presName="compositeA" presStyleCnt="0"/>
      <dgm:spPr/>
    </dgm:pt>
    <dgm:pt modelId="{44ED039E-AD28-44A7-8BF1-41FE49091BD1}" type="pres">
      <dgm:prSet presAssocID="{CF6519F7-07BF-4B50-B32D-E5581A51D41F}" presName="textA" presStyleLbl="revTx" presStyleIdx="0" presStyleCnt="4" custScaleX="155049">
        <dgm:presLayoutVars>
          <dgm:bulletEnabled val="1"/>
        </dgm:presLayoutVars>
      </dgm:prSet>
      <dgm:spPr/>
    </dgm:pt>
    <dgm:pt modelId="{D4C97CC7-FC6D-45DA-88FB-65807D1421B6}" type="pres">
      <dgm:prSet presAssocID="{CF6519F7-07BF-4B50-B32D-E5581A51D41F}" presName="circleA" presStyleLbl="node1" presStyleIdx="0" presStyleCnt="4"/>
      <dgm:spPr/>
    </dgm:pt>
    <dgm:pt modelId="{45BA7E53-A941-496D-9A7E-7E3A9A11ADAA}" type="pres">
      <dgm:prSet presAssocID="{CF6519F7-07BF-4B50-B32D-E5581A51D41F}" presName="spaceA" presStyleCnt="0"/>
      <dgm:spPr/>
    </dgm:pt>
    <dgm:pt modelId="{B42A80EB-BD94-440A-8BAE-AB88CBA2546C}" type="pres">
      <dgm:prSet presAssocID="{9A4AAEED-67DD-49D3-91E9-F48941535031}" presName="space" presStyleCnt="0"/>
      <dgm:spPr/>
    </dgm:pt>
    <dgm:pt modelId="{2073C144-AC66-4575-B8C4-AEB5BACFA645}" type="pres">
      <dgm:prSet presAssocID="{90B9CEF9-15B8-4855-9771-7178A553CC94}" presName="compositeB" presStyleCnt="0"/>
      <dgm:spPr/>
    </dgm:pt>
    <dgm:pt modelId="{2C809715-6408-413F-9D0E-A82CC65C2025}" type="pres">
      <dgm:prSet presAssocID="{90B9CEF9-15B8-4855-9771-7178A553CC94}" presName="textB" presStyleLbl="revTx" presStyleIdx="1" presStyleCnt="4">
        <dgm:presLayoutVars>
          <dgm:bulletEnabled val="1"/>
        </dgm:presLayoutVars>
      </dgm:prSet>
      <dgm:spPr/>
    </dgm:pt>
    <dgm:pt modelId="{F8F237AE-1735-4C69-B58F-967AD2303F75}" type="pres">
      <dgm:prSet presAssocID="{90B9CEF9-15B8-4855-9771-7178A553CC94}" presName="circleB" presStyleLbl="node1" presStyleIdx="1" presStyleCnt="4"/>
      <dgm:spPr/>
    </dgm:pt>
    <dgm:pt modelId="{D8D0144B-DEBF-4176-9343-796E45D28BB7}" type="pres">
      <dgm:prSet presAssocID="{90B9CEF9-15B8-4855-9771-7178A553CC94}" presName="spaceB" presStyleCnt="0"/>
      <dgm:spPr/>
    </dgm:pt>
    <dgm:pt modelId="{26D40854-1433-4212-9A9F-4DC9D718A2FE}" type="pres">
      <dgm:prSet presAssocID="{00234945-0B30-4198-B8C1-79454F06E612}" presName="space" presStyleCnt="0"/>
      <dgm:spPr/>
    </dgm:pt>
    <dgm:pt modelId="{AFE9DC6A-BE33-4BE1-9016-A6D727239A86}" type="pres">
      <dgm:prSet presAssocID="{BC2D7469-6395-4F4E-8090-691C41BFC2B2}" presName="compositeA" presStyleCnt="0"/>
      <dgm:spPr/>
    </dgm:pt>
    <dgm:pt modelId="{CB837A90-9790-4A5A-A17E-26852DA5595B}" type="pres">
      <dgm:prSet presAssocID="{BC2D7469-6395-4F4E-8090-691C41BFC2B2}" presName="textA" presStyleLbl="revTx" presStyleIdx="2" presStyleCnt="4" custScaleX="177913">
        <dgm:presLayoutVars>
          <dgm:bulletEnabled val="1"/>
        </dgm:presLayoutVars>
      </dgm:prSet>
      <dgm:spPr/>
    </dgm:pt>
    <dgm:pt modelId="{14BF36FF-0245-44AD-B8E3-17F6B2477CC5}" type="pres">
      <dgm:prSet presAssocID="{BC2D7469-6395-4F4E-8090-691C41BFC2B2}" presName="circleA" presStyleLbl="node1" presStyleIdx="2" presStyleCnt="4"/>
      <dgm:spPr/>
    </dgm:pt>
    <dgm:pt modelId="{2AECDA3B-2784-45DF-B43B-D41FB7E8FFA7}" type="pres">
      <dgm:prSet presAssocID="{BC2D7469-6395-4F4E-8090-691C41BFC2B2}" presName="spaceA" presStyleCnt="0"/>
      <dgm:spPr/>
    </dgm:pt>
    <dgm:pt modelId="{7C916F93-1140-440B-9DDF-0058DAC369F4}" type="pres">
      <dgm:prSet presAssocID="{2EE07376-F85B-4034-9514-A41F74C7E2C6}" presName="space" presStyleCnt="0"/>
      <dgm:spPr/>
    </dgm:pt>
    <dgm:pt modelId="{DEBB5733-A03E-407E-AA51-0EDDECFC822B}" type="pres">
      <dgm:prSet presAssocID="{2BFA04DB-A169-4464-8AB1-D45D1E6D0733}" presName="compositeB" presStyleCnt="0"/>
      <dgm:spPr/>
    </dgm:pt>
    <dgm:pt modelId="{F801174E-38FE-45C5-8E7B-6203465CCF51}" type="pres">
      <dgm:prSet presAssocID="{2BFA04DB-A169-4464-8AB1-D45D1E6D0733}" presName="textB" presStyleLbl="revTx" presStyleIdx="3" presStyleCnt="4">
        <dgm:presLayoutVars>
          <dgm:bulletEnabled val="1"/>
        </dgm:presLayoutVars>
      </dgm:prSet>
      <dgm:spPr/>
    </dgm:pt>
    <dgm:pt modelId="{69C55B29-AA96-41C3-B3EF-F7E43B55F864}" type="pres">
      <dgm:prSet presAssocID="{2BFA04DB-A169-4464-8AB1-D45D1E6D0733}" presName="circleB" presStyleLbl="node1" presStyleIdx="3" presStyleCnt="4"/>
      <dgm:spPr/>
    </dgm:pt>
    <dgm:pt modelId="{1C4C6196-BD9D-463E-863C-BEEC7F31E83B}" type="pres">
      <dgm:prSet presAssocID="{2BFA04DB-A169-4464-8AB1-D45D1E6D0733}" presName="spaceB" presStyleCnt="0"/>
      <dgm:spPr/>
    </dgm:pt>
  </dgm:ptLst>
  <dgm:cxnLst>
    <dgm:cxn modelId="{CCE23A72-E444-41DE-8924-85D1E9A48A12}" srcId="{895B7E95-4084-4622-8BA0-6E54EC8EA4CE}" destId="{BC2D7469-6395-4F4E-8090-691C41BFC2B2}" srcOrd="2" destOrd="0" parTransId="{162FAE8E-B1D4-409F-9419-4BF69F885AED}" sibTransId="{2EE07376-F85B-4034-9514-A41F74C7E2C6}"/>
    <dgm:cxn modelId="{905ED228-0624-41A8-B456-3567289FF0EA}" type="presOf" srcId="{CF6519F7-07BF-4B50-B32D-E5581A51D41F}" destId="{44ED039E-AD28-44A7-8BF1-41FE49091BD1}" srcOrd="0" destOrd="0" presId="urn:microsoft.com/office/officeart/2005/8/layout/hProcess11"/>
    <dgm:cxn modelId="{3BED0A98-E665-4AEC-A56B-044F33B9B37D}" type="presOf" srcId="{BC2D7469-6395-4F4E-8090-691C41BFC2B2}" destId="{CB837A90-9790-4A5A-A17E-26852DA5595B}" srcOrd="0" destOrd="0" presId="urn:microsoft.com/office/officeart/2005/8/layout/hProcess11"/>
    <dgm:cxn modelId="{6F21732E-9079-4CDA-8349-D130DDA87EAB}" type="presOf" srcId="{895B7E95-4084-4622-8BA0-6E54EC8EA4CE}" destId="{058A4EA0-C713-44E5-9A3D-D1BB661494D7}" srcOrd="0" destOrd="0" presId="urn:microsoft.com/office/officeart/2005/8/layout/hProcess11"/>
    <dgm:cxn modelId="{ABCC6AD8-D5C9-4DAF-9CAD-5DD50CA8453F}" type="presOf" srcId="{90B9CEF9-15B8-4855-9771-7178A553CC94}" destId="{2C809715-6408-413F-9D0E-A82CC65C2025}" srcOrd="0" destOrd="0" presId="urn:microsoft.com/office/officeart/2005/8/layout/hProcess11"/>
    <dgm:cxn modelId="{8901BA3B-866D-4B9D-8288-757059B7A6F0}" srcId="{895B7E95-4084-4622-8BA0-6E54EC8EA4CE}" destId="{90B9CEF9-15B8-4855-9771-7178A553CC94}" srcOrd="1" destOrd="0" parTransId="{A75F19BF-A9BF-4EB7-ADF3-33C32BFE443C}" sibTransId="{00234945-0B30-4198-B8C1-79454F06E612}"/>
    <dgm:cxn modelId="{1700DF08-F3C7-427B-8002-3ECD8C7CD566}" srcId="{895B7E95-4084-4622-8BA0-6E54EC8EA4CE}" destId="{2BFA04DB-A169-4464-8AB1-D45D1E6D0733}" srcOrd="3" destOrd="0" parTransId="{D3BCBC47-D5EC-4BE3-9E20-5015CAFA255B}" sibTransId="{A631EB71-2256-46AE-BFA3-CAC1BA7ED7CB}"/>
    <dgm:cxn modelId="{6F15BE06-4118-4366-8970-710C56982506}" srcId="{895B7E95-4084-4622-8BA0-6E54EC8EA4CE}" destId="{CF6519F7-07BF-4B50-B32D-E5581A51D41F}" srcOrd="0" destOrd="0" parTransId="{D6B9ADA4-865C-4C32-9F92-B08561F8D520}" sibTransId="{9A4AAEED-67DD-49D3-91E9-F48941535031}"/>
    <dgm:cxn modelId="{A6EADCB5-3697-4646-83F1-40F8CA4F65AE}" type="presOf" srcId="{2BFA04DB-A169-4464-8AB1-D45D1E6D0733}" destId="{F801174E-38FE-45C5-8E7B-6203465CCF51}" srcOrd="0" destOrd="0" presId="urn:microsoft.com/office/officeart/2005/8/layout/hProcess11"/>
    <dgm:cxn modelId="{A3A17B17-3BCC-448E-AC7B-5B5F1FCBD4C5}" type="presParOf" srcId="{058A4EA0-C713-44E5-9A3D-D1BB661494D7}" destId="{8A48809F-8002-4D36-ADB8-3E3A37E55291}" srcOrd="0" destOrd="0" presId="urn:microsoft.com/office/officeart/2005/8/layout/hProcess11"/>
    <dgm:cxn modelId="{017A0923-16FA-4263-A316-760589C7B85C}" type="presParOf" srcId="{058A4EA0-C713-44E5-9A3D-D1BB661494D7}" destId="{0453A981-FEAA-42B5-B35C-73DB999F5750}" srcOrd="1" destOrd="0" presId="urn:microsoft.com/office/officeart/2005/8/layout/hProcess11"/>
    <dgm:cxn modelId="{589540FF-E111-4077-9FCF-0DDE22934305}" type="presParOf" srcId="{0453A981-FEAA-42B5-B35C-73DB999F5750}" destId="{E75BE29C-AC1C-492A-9BF6-570AC1932AD3}" srcOrd="0" destOrd="0" presId="urn:microsoft.com/office/officeart/2005/8/layout/hProcess11"/>
    <dgm:cxn modelId="{6B9D9DD7-D93E-4151-981F-1E3EAC57A65A}" type="presParOf" srcId="{E75BE29C-AC1C-492A-9BF6-570AC1932AD3}" destId="{44ED039E-AD28-44A7-8BF1-41FE49091BD1}" srcOrd="0" destOrd="0" presId="urn:microsoft.com/office/officeart/2005/8/layout/hProcess11"/>
    <dgm:cxn modelId="{5F3400C1-5F75-4188-A28F-BDF426AB3FE7}" type="presParOf" srcId="{E75BE29C-AC1C-492A-9BF6-570AC1932AD3}" destId="{D4C97CC7-FC6D-45DA-88FB-65807D1421B6}" srcOrd="1" destOrd="0" presId="urn:microsoft.com/office/officeart/2005/8/layout/hProcess11"/>
    <dgm:cxn modelId="{C31705F1-B761-46A0-894A-48DEE7491F07}" type="presParOf" srcId="{E75BE29C-AC1C-492A-9BF6-570AC1932AD3}" destId="{45BA7E53-A941-496D-9A7E-7E3A9A11ADAA}" srcOrd="2" destOrd="0" presId="urn:microsoft.com/office/officeart/2005/8/layout/hProcess11"/>
    <dgm:cxn modelId="{DC52373D-9CDC-4A23-8FC8-19C0F843ADC9}" type="presParOf" srcId="{0453A981-FEAA-42B5-B35C-73DB999F5750}" destId="{B42A80EB-BD94-440A-8BAE-AB88CBA2546C}" srcOrd="1" destOrd="0" presId="urn:microsoft.com/office/officeart/2005/8/layout/hProcess11"/>
    <dgm:cxn modelId="{495FC4C4-7CA0-4592-8BDA-6D77E44E9DA1}" type="presParOf" srcId="{0453A981-FEAA-42B5-B35C-73DB999F5750}" destId="{2073C144-AC66-4575-B8C4-AEB5BACFA645}" srcOrd="2" destOrd="0" presId="urn:microsoft.com/office/officeart/2005/8/layout/hProcess11"/>
    <dgm:cxn modelId="{D489DC31-E96D-4FCC-BE25-940AFDC31F00}" type="presParOf" srcId="{2073C144-AC66-4575-B8C4-AEB5BACFA645}" destId="{2C809715-6408-413F-9D0E-A82CC65C2025}" srcOrd="0" destOrd="0" presId="urn:microsoft.com/office/officeart/2005/8/layout/hProcess11"/>
    <dgm:cxn modelId="{AC86A8E6-66CD-4BFB-863C-8424022C1C28}" type="presParOf" srcId="{2073C144-AC66-4575-B8C4-AEB5BACFA645}" destId="{F8F237AE-1735-4C69-B58F-967AD2303F75}" srcOrd="1" destOrd="0" presId="urn:microsoft.com/office/officeart/2005/8/layout/hProcess11"/>
    <dgm:cxn modelId="{D08355FE-CD06-412C-A68E-0C19C30D84E6}" type="presParOf" srcId="{2073C144-AC66-4575-B8C4-AEB5BACFA645}" destId="{D8D0144B-DEBF-4176-9343-796E45D28BB7}" srcOrd="2" destOrd="0" presId="urn:microsoft.com/office/officeart/2005/8/layout/hProcess11"/>
    <dgm:cxn modelId="{20236AB8-4485-4BAA-B00E-5D638FA48D4E}" type="presParOf" srcId="{0453A981-FEAA-42B5-B35C-73DB999F5750}" destId="{26D40854-1433-4212-9A9F-4DC9D718A2FE}" srcOrd="3" destOrd="0" presId="urn:microsoft.com/office/officeart/2005/8/layout/hProcess11"/>
    <dgm:cxn modelId="{FBCBBCB4-218B-4547-A438-0259E9898A3A}" type="presParOf" srcId="{0453A981-FEAA-42B5-B35C-73DB999F5750}" destId="{AFE9DC6A-BE33-4BE1-9016-A6D727239A86}" srcOrd="4" destOrd="0" presId="urn:microsoft.com/office/officeart/2005/8/layout/hProcess11"/>
    <dgm:cxn modelId="{BC5B46DD-A87D-4611-8575-5C119B80670F}" type="presParOf" srcId="{AFE9DC6A-BE33-4BE1-9016-A6D727239A86}" destId="{CB837A90-9790-4A5A-A17E-26852DA5595B}" srcOrd="0" destOrd="0" presId="urn:microsoft.com/office/officeart/2005/8/layout/hProcess11"/>
    <dgm:cxn modelId="{EE915EE7-16E7-433C-86A9-C88B2FE26A58}" type="presParOf" srcId="{AFE9DC6A-BE33-4BE1-9016-A6D727239A86}" destId="{14BF36FF-0245-44AD-B8E3-17F6B2477CC5}" srcOrd="1" destOrd="0" presId="urn:microsoft.com/office/officeart/2005/8/layout/hProcess11"/>
    <dgm:cxn modelId="{CCDF7915-9F20-4517-906F-0E57CB0DE354}" type="presParOf" srcId="{AFE9DC6A-BE33-4BE1-9016-A6D727239A86}" destId="{2AECDA3B-2784-45DF-B43B-D41FB7E8FFA7}" srcOrd="2" destOrd="0" presId="urn:microsoft.com/office/officeart/2005/8/layout/hProcess11"/>
    <dgm:cxn modelId="{E9FFF43D-C462-41D9-B99D-0E8508C0A50B}" type="presParOf" srcId="{0453A981-FEAA-42B5-B35C-73DB999F5750}" destId="{7C916F93-1140-440B-9DDF-0058DAC369F4}" srcOrd="5" destOrd="0" presId="urn:microsoft.com/office/officeart/2005/8/layout/hProcess11"/>
    <dgm:cxn modelId="{3EB08A1E-7150-4EAD-9ACF-7E9324DD40DD}" type="presParOf" srcId="{0453A981-FEAA-42B5-B35C-73DB999F5750}" destId="{DEBB5733-A03E-407E-AA51-0EDDECFC822B}" srcOrd="6" destOrd="0" presId="urn:microsoft.com/office/officeart/2005/8/layout/hProcess11"/>
    <dgm:cxn modelId="{5AF9E66F-D7CB-4B89-B50C-FE52BD6941D0}" type="presParOf" srcId="{DEBB5733-A03E-407E-AA51-0EDDECFC822B}" destId="{F801174E-38FE-45C5-8E7B-6203465CCF51}" srcOrd="0" destOrd="0" presId="urn:microsoft.com/office/officeart/2005/8/layout/hProcess11"/>
    <dgm:cxn modelId="{2E468B41-8B5B-475E-B2D5-37847CB2BA8E}" type="presParOf" srcId="{DEBB5733-A03E-407E-AA51-0EDDECFC822B}" destId="{69C55B29-AA96-41C3-B3EF-F7E43B55F864}" srcOrd="1" destOrd="0" presId="urn:microsoft.com/office/officeart/2005/8/layout/hProcess11"/>
    <dgm:cxn modelId="{E2102748-1CC5-4652-8E7D-6A16DDC403B8}" type="presParOf" srcId="{DEBB5733-A03E-407E-AA51-0EDDECFC822B}" destId="{1C4C6196-BD9D-463E-863C-BEEC7F31E83B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4F8B28-4FB7-5D40-A63D-10A1413DDFC8}">
      <dsp:nvSpPr>
        <dsp:cNvPr id="0" name=""/>
        <dsp:cNvSpPr/>
      </dsp:nvSpPr>
      <dsp:spPr>
        <a:xfrm>
          <a:off x="3291" y="0"/>
          <a:ext cx="3302638" cy="847304"/>
        </a:xfrm>
        <a:prstGeom prst="homePlate">
          <a:avLst/>
        </a:prstGeom>
        <a:solidFill>
          <a:schemeClr val="tx2"/>
        </a:solidFill>
        <a:ln w="25400" cap="flat" cmpd="sng" algn="ctr">
          <a:solidFill>
            <a:srgbClr val="FFFF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600" kern="1200" dirty="0" err="1">
              <a:solidFill>
                <a:srgbClr val="FFFFFF"/>
              </a:solidFill>
            </a:rPr>
            <a:t>Components</a:t>
          </a:r>
          <a:endParaRPr lang="nl-NL" sz="1600" kern="1200" dirty="0">
            <a:solidFill>
              <a:srgbClr val="FFFFFF"/>
            </a:solidFill>
          </a:endParaRPr>
        </a:p>
      </dsp:txBody>
      <dsp:txXfrm>
        <a:off x="3291" y="0"/>
        <a:ext cx="3090812" cy="847304"/>
      </dsp:txXfrm>
    </dsp:sp>
    <dsp:sp modelId="{F9230D9D-87A9-5841-B1E4-0C309B0B9630}">
      <dsp:nvSpPr>
        <dsp:cNvPr id="0" name=""/>
        <dsp:cNvSpPr/>
      </dsp:nvSpPr>
      <dsp:spPr>
        <a:xfrm>
          <a:off x="2645402" y="0"/>
          <a:ext cx="3302638" cy="847304"/>
        </a:xfrm>
        <a:prstGeom prst="chevron">
          <a:avLst/>
        </a:prstGeom>
        <a:solidFill>
          <a:schemeClr val="tx2"/>
        </a:solidFill>
        <a:ln w="25400" cap="flat" cmpd="sng" algn="ctr">
          <a:solidFill>
            <a:srgbClr val="FFFF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600" kern="1200" dirty="0" err="1">
              <a:solidFill>
                <a:srgbClr val="FFFFFF"/>
              </a:solidFill>
            </a:rPr>
            <a:t>Battery</a:t>
          </a:r>
          <a:r>
            <a:rPr lang="nl-NL" sz="1600" kern="1200" dirty="0">
              <a:solidFill>
                <a:srgbClr val="FFFFFF"/>
              </a:solidFill>
            </a:rPr>
            <a:t> </a:t>
          </a:r>
          <a:r>
            <a:rPr lang="nl-NL" sz="1600" kern="1200" dirty="0" err="1">
              <a:solidFill>
                <a:srgbClr val="FFFFFF"/>
              </a:solidFill>
            </a:rPr>
            <a:t>cells</a:t>
          </a:r>
          <a:endParaRPr lang="nl-NL" sz="1600" kern="1200" dirty="0">
            <a:solidFill>
              <a:srgbClr val="FFFFFF"/>
            </a:solidFill>
          </a:endParaRPr>
        </a:p>
      </dsp:txBody>
      <dsp:txXfrm>
        <a:off x="3069054" y="0"/>
        <a:ext cx="2455334" cy="847304"/>
      </dsp:txXfrm>
    </dsp:sp>
    <dsp:sp modelId="{8DA9748F-4E2F-DE41-958A-D7AD6B8E6C1A}">
      <dsp:nvSpPr>
        <dsp:cNvPr id="0" name=""/>
        <dsp:cNvSpPr/>
      </dsp:nvSpPr>
      <dsp:spPr>
        <a:xfrm>
          <a:off x="5287513" y="0"/>
          <a:ext cx="3302638" cy="847304"/>
        </a:xfrm>
        <a:prstGeom prst="chevron">
          <a:avLst/>
        </a:prstGeom>
        <a:solidFill>
          <a:schemeClr val="tx2"/>
        </a:solidFill>
        <a:ln w="25400" cap="flat" cmpd="sng" algn="ctr">
          <a:solidFill>
            <a:srgbClr val="FFFF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600" kern="1200" dirty="0" err="1">
              <a:solidFill>
                <a:srgbClr val="FFFFFF"/>
              </a:solidFill>
            </a:rPr>
            <a:t>Battery</a:t>
          </a:r>
          <a:r>
            <a:rPr lang="nl-NL" sz="1600" kern="1200" dirty="0">
              <a:solidFill>
                <a:srgbClr val="FFFFFF"/>
              </a:solidFill>
            </a:rPr>
            <a:t> modules</a:t>
          </a:r>
        </a:p>
      </dsp:txBody>
      <dsp:txXfrm>
        <a:off x="5711165" y="0"/>
        <a:ext cx="2455334" cy="847304"/>
      </dsp:txXfrm>
    </dsp:sp>
    <dsp:sp modelId="{D9194C8A-8C73-2440-8B7C-C5C87B0BDA94}">
      <dsp:nvSpPr>
        <dsp:cNvPr id="0" name=""/>
        <dsp:cNvSpPr/>
      </dsp:nvSpPr>
      <dsp:spPr>
        <a:xfrm>
          <a:off x="7929623" y="0"/>
          <a:ext cx="3302638" cy="847304"/>
        </a:xfrm>
        <a:prstGeom prst="chevron">
          <a:avLst/>
        </a:prstGeom>
        <a:solidFill>
          <a:schemeClr val="tx2"/>
        </a:solidFill>
        <a:ln w="25400" cap="flat" cmpd="sng" algn="ctr">
          <a:solidFill>
            <a:srgbClr val="FFFFF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600" kern="1200" dirty="0" err="1">
              <a:solidFill>
                <a:srgbClr val="FFFFFF"/>
              </a:solidFill>
            </a:rPr>
            <a:t>Battery</a:t>
          </a:r>
          <a:r>
            <a:rPr lang="nl-NL" sz="1600" kern="1200" dirty="0">
              <a:solidFill>
                <a:srgbClr val="FFFFFF"/>
              </a:solidFill>
            </a:rPr>
            <a:t> pack</a:t>
          </a:r>
        </a:p>
      </dsp:txBody>
      <dsp:txXfrm>
        <a:off x="8353275" y="0"/>
        <a:ext cx="2455334" cy="84730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48809F-8002-4D36-ADB8-3E3A37E55291}">
      <dsp:nvSpPr>
        <dsp:cNvPr id="0" name=""/>
        <dsp:cNvSpPr/>
      </dsp:nvSpPr>
      <dsp:spPr>
        <a:xfrm>
          <a:off x="0" y="1382553"/>
          <a:ext cx="5616624" cy="1843404"/>
        </a:xfrm>
        <a:prstGeom prst="notched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ED039E-AD28-44A7-8BF1-41FE49091BD1}">
      <dsp:nvSpPr>
        <dsp:cNvPr id="0" name=""/>
        <dsp:cNvSpPr/>
      </dsp:nvSpPr>
      <dsp:spPr>
        <a:xfrm>
          <a:off x="1680" y="0"/>
          <a:ext cx="1429379" cy="1843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b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400" b="0" i="0" kern="1200" dirty="0" smtClean="0"/>
            <a:t>Defect op cel niveau, interne lagen maken kortsluiting met hitte, vlammen en rook.</a:t>
          </a:r>
          <a:endParaRPr lang="nl-NL" sz="1400" kern="1200" dirty="0"/>
        </a:p>
      </dsp:txBody>
      <dsp:txXfrm>
        <a:off x="1680" y="0"/>
        <a:ext cx="1429379" cy="1843404"/>
      </dsp:txXfrm>
    </dsp:sp>
    <dsp:sp modelId="{D4C97CC7-FC6D-45DA-88FB-65807D1421B6}">
      <dsp:nvSpPr>
        <dsp:cNvPr id="0" name=""/>
        <dsp:cNvSpPr/>
      </dsp:nvSpPr>
      <dsp:spPr>
        <a:xfrm>
          <a:off x="485944" y="2073830"/>
          <a:ext cx="460851" cy="46085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809715-6408-413F-9D0E-A82CC65C2025}">
      <dsp:nvSpPr>
        <dsp:cNvPr id="0" name=""/>
        <dsp:cNvSpPr/>
      </dsp:nvSpPr>
      <dsp:spPr>
        <a:xfrm>
          <a:off x="1477154" y="2765107"/>
          <a:ext cx="921888" cy="1843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400" b="0" i="0" kern="1200" smtClean="0"/>
            <a:t>Defect op batterij pack niveau.</a:t>
          </a:r>
          <a:endParaRPr lang="nl-NL" sz="1400" kern="1200"/>
        </a:p>
      </dsp:txBody>
      <dsp:txXfrm>
        <a:off x="1477154" y="2765107"/>
        <a:ext cx="921888" cy="1843404"/>
      </dsp:txXfrm>
    </dsp:sp>
    <dsp:sp modelId="{F8F237AE-1735-4C69-B58F-967AD2303F75}">
      <dsp:nvSpPr>
        <dsp:cNvPr id="0" name=""/>
        <dsp:cNvSpPr/>
      </dsp:nvSpPr>
      <dsp:spPr>
        <a:xfrm>
          <a:off x="1707673" y="2073830"/>
          <a:ext cx="460851" cy="46085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B837A90-9790-4A5A-A17E-26852DA5595B}">
      <dsp:nvSpPr>
        <dsp:cNvPr id="0" name=""/>
        <dsp:cNvSpPr/>
      </dsp:nvSpPr>
      <dsp:spPr>
        <a:xfrm>
          <a:off x="2445137" y="0"/>
          <a:ext cx="1640159" cy="1843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b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300" b="0" i="0" kern="1200" dirty="0" smtClean="0"/>
            <a:t>Vuur verspreidt van de ene naar de volgende batterij cel.</a:t>
          </a:r>
          <a:endParaRPr lang="nl-NL" sz="1300" kern="1200" dirty="0"/>
        </a:p>
      </dsp:txBody>
      <dsp:txXfrm>
        <a:off x="2445137" y="0"/>
        <a:ext cx="1640159" cy="1843404"/>
      </dsp:txXfrm>
    </dsp:sp>
    <dsp:sp modelId="{14BF36FF-0245-44AD-B8E3-17F6B2477CC5}">
      <dsp:nvSpPr>
        <dsp:cNvPr id="0" name=""/>
        <dsp:cNvSpPr/>
      </dsp:nvSpPr>
      <dsp:spPr>
        <a:xfrm>
          <a:off x="3034792" y="2073830"/>
          <a:ext cx="460851" cy="46085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01174E-38FE-45C5-8E7B-6203465CCF51}">
      <dsp:nvSpPr>
        <dsp:cNvPr id="0" name=""/>
        <dsp:cNvSpPr/>
      </dsp:nvSpPr>
      <dsp:spPr>
        <a:xfrm>
          <a:off x="4131392" y="2765107"/>
          <a:ext cx="921888" cy="18434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NL" sz="1300" b="0" i="0" kern="1200" dirty="0" smtClean="0"/>
            <a:t>Grote brand tot gevolg.</a:t>
          </a:r>
          <a:endParaRPr lang="nl-NL" sz="1300" kern="1200" dirty="0"/>
        </a:p>
      </dsp:txBody>
      <dsp:txXfrm>
        <a:off x="4131392" y="2765107"/>
        <a:ext cx="921888" cy="1843404"/>
      </dsp:txXfrm>
    </dsp:sp>
    <dsp:sp modelId="{69C55B29-AA96-41C3-B3EF-F7E43B55F864}">
      <dsp:nvSpPr>
        <dsp:cNvPr id="0" name=""/>
        <dsp:cNvSpPr/>
      </dsp:nvSpPr>
      <dsp:spPr>
        <a:xfrm>
          <a:off x="4361910" y="2073830"/>
          <a:ext cx="460851" cy="46085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A4D5C7-45D9-264B-B2E4-E9B46197C9A1}" type="datetimeFigureOut">
              <a:rPr lang="nl-NL" smtClean="0"/>
              <a:t>29-4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90563" y="1143000"/>
            <a:ext cx="54768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349333-080A-9644-891E-9931A0433E3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630244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Beschikbaar voor de hele keten. 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EA451E-970F-4198-9510-00D173C0DC0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1420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pening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xmlns="" id="{FF773D50-55BA-A547-BB5C-CD0EC05126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8263" y="764704"/>
            <a:ext cx="11233248" cy="5832648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xmlns="" id="{D6D09CB6-24B1-B342-B6C6-8B1A70FADA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36912"/>
            <a:ext cx="6336704" cy="3960440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xmlns="" id="{D0935830-C430-8A48-ADC0-8F82C13D25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22824"/>
            <a:ext cx="6336704" cy="3974528"/>
          </a:xfrm>
          <a:prstGeom prst="rect">
            <a:avLst/>
          </a:prstGeom>
        </p:spPr>
      </p:pic>
      <p:sp>
        <p:nvSpPr>
          <p:cNvPr id="9" name="Rectangle 119">
            <a:extLst>
              <a:ext uri="{FF2B5EF4-FFF2-40B4-BE49-F238E27FC236}">
                <a16:creationId xmlns:a16="http://schemas.microsoft.com/office/drawing/2014/main" xmlns="" id="{ACD674F6-C95F-B845-961A-F303FDB15D85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136117" y="4365104"/>
            <a:ext cx="3989330" cy="720080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ts val="23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sz="24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 noProof="0" dirty="0"/>
              <a:t>Klikken om de titelstijl van het model te bewerken</a:t>
            </a:r>
            <a:endParaRPr lang="en-US" noProof="0" dirty="0"/>
          </a:p>
        </p:txBody>
      </p:sp>
      <p:sp>
        <p:nvSpPr>
          <p:cNvPr id="10" name="Tijdelijke aanduiding voor tekst 3">
            <a:extLst>
              <a:ext uri="{FF2B5EF4-FFF2-40B4-BE49-F238E27FC236}">
                <a16:creationId xmlns:a16="http://schemas.microsoft.com/office/drawing/2014/main" xmlns="" id="{4F60299E-F7C1-814C-BD87-A730FE6D5C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6117" y="5273551"/>
            <a:ext cx="3989330" cy="11077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7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Tekststijl van het model bewerken</a:t>
            </a:r>
          </a:p>
        </p:txBody>
      </p:sp>
      <p:sp>
        <p:nvSpPr>
          <p:cNvPr id="12" name="Tijdelijke aanduiding voor datum 2">
            <a:extLst>
              <a:ext uri="{FF2B5EF4-FFF2-40B4-BE49-F238E27FC236}">
                <a16:creationId xmlns:a16="http://schemas.microsoft.com/office/drawing/2014/main" xmlns="" id="{AA6051EB-960F-A947-8376-2AECDFCDCD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30BD30D-9513-4343-BFAE-AB845B9033E0}" type="datetime1">
              <a:rPr lang="nl-NL" smtClean="0"/>
              <a:t>29-4-2019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700350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pening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xmlns="" id="{FF773D50-55BA-A547-BB5C-CD0EC05126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263" y="764704"/>
            <a:ext cx="11226800" cy="5829300"/>
          </a:xfrm>
          <a:prstGeom prst="rect">
            <a:avLst/>
          </a:prstGeom>
        </p:spPr>
      </p:pic>
      <p:sp>
        <p:nvSpPr>
          <p:cNvPr id="12" name="Tijdelijke aanduiding voor datum 2">
            <a:extLst>
              <a:ext uri="{FF2B5EF4-FFF2-40B4-BE49-F238E27FC236}">
                <a16:creationId xmlns:a16="http://schemas.microsoft.com/office/drawing/2014/main" xmlns="" id="{AA6051EB-960F-A947-8376-2AECDFCDCD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B4A1155-1114-2A44-AC7D-7BB8CBD56C9E}" type="datetime1">
              <a:rPr lang="nl-NL" smtClean="0"/>
              <a:t>29-4-2019</a:t>
            </a:fld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xmlns="" id="{3CF02DB1-0AF9-3842-8F0F-14F11DEFC5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36912"/>
            <a:ext cx="6336704" cy="3960440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xmlns="" id="{3D08E93C-69D3-C04E-AAD4-7A58E33F23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22824"/>
            <a:ext cx="6336704" cy="3974528"/>
          </a:xfrm>
          <a:prstGeom prst="rect">
            <a:avLst/>
          </a:prstGeom>
        </p:spPr>
      </p:pic>
      <p:sp>
        <p:nvSpPr>
          <p:cNvPr id="14" name="Rectangle 119">
            <a:extLst>
              <a:ext uri="{FF2B5EF4-FFF2-40B4-BE49-F238E27FC236}">
                <a16:creationId xmlns:a16="http://schemas.microsoft.com/office/drawing/2014/main" xmlns="" id="{72048A30-0859-7E45-ADD1-DF7ADCEA1C85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136117" y="4365104"/>
            <a:ext cx="3989330" cy="720080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ts val="23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sz="24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 noProof="0" dirty="0"/>
              <a:t>Klikken om de titelstijl van het model te bewerken</a:t>
            </a:r>
            <a:endParaRPr lang="en-US" noProof="0" dirty="0"/>
          </a:p>
        </p:txBody>
      </p:sp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xmlns="" id="{34D8E321-AADE-5A44-AF57-3140E3DA5F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6117" y="5273551"/>
            <a:ext cx="3989330" cy="11077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7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Tekststijl van het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23489347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Tekstvak 186"/>
          <p:cNvSpPr txBox="1"/>
          <p:nvPr userDrawn="1"/>
        </p:nvSpPr>
        <p:spPr>
          <a:xfrm>
            <a:off x="-85057" y="-437946"/>
            <a:ext cx="30015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0" i="0" dirty="0">
                <a:solidFill>
                  <a:schemeClr val="accent5"/>
                </a:solidFill>
                <a:latin typeface="Arial"/>
                <a:cs typeface="Arial"/>
              </a:rPr>
              <a:t>100% TEKST</a:t>
            </a:r>
          </a:p>
        </p:txBody>
      </p:sp>
      <p:sp>
        <p:nvSpPr>
          <p:cNvPr id="53" name="Rectangle 2">
            <a:extLst>
              <a:ext uri="{FF2B5EF4-FFF2-40B4-BE49-F238E27FC236}">
                <a16:creationId xmlns:a16="http://schemas.microsoft.com/office/drawing/2014/main" xmlns="" id="{AD0E8504-C659-DD41-BD90-2A8617521C6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958" y="908721"/>
            <a:ext cx="11235553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Titelstijl van model bewerken</a:t>
            </a:r>
          </a:p>
        </p:txBody>
      </p:sp>
      <p:sp>
        <p:nvSpPr>
          <p:cNvPr id="5" name="Tijdelijke aanduiding voor voettekst 1">
            <a:extLst>
              <a:ext uri="{FF2B5EF4-FFF2-40B4-BE49-F238E27FC236}">
                <a16:creationId xmlns:a16="http://schemas.microsoft.com/office/drawing/2014/main" xmlns="" id="{200314D4-2D78-2541-A6F9-1E14930DB2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958" y="6304235"/>
            <a:ext cx="112355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6" name="Tijdelijke aanduiding voor datum 2">
            <a:extLst>
              <a:ext uri="{FF2B5EF4-FFF2-40B4-BE49-F238E27FC236}">
                <a16:creationId xmlns:a16="http://schemas.microsoft.com/office/drawing/2014/main" xmlns="" id="{73B99424-5457-1E4E-B268-26F2CB3F8B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BB8ABDE-9978-CF46-92BB-51A0E5AE10D4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9" name="Tijdelijke aanduiding voor tekst 2">
            <a:extLst>
              <a:ext uri="{FF2B5EF4-FFF2-40B4-BE49-F238E27FC236}">
                <a16:creationId xmlns:a16="http://schemas.microsoft.com/office/drawing/2014/main" xmlns="" id="{5F2B551D-FFE3-064A-A0A4-3397806779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5958" y="1994447"/>
            <a:ext cx="11235553" cy="4026842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>
                <a:solidFill>
                  <a:schemeClr val="accent5"/>
                </a:solidFill>
              </a:defRPr>
            </a:lvl1pPr>
            <a:lvl2pPr>
              <a:defRPr/>
            </a:lvl2pPr>
            <a:lvl3pPr>
              <a:defRPr/>
            </a:lvl3pPr>
          </a:lstStyle>
          <a:p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Eerste niveau</a:t>
            </a:r>
          </a:p>
          <a:p>
            <a:pPr lvl="2"/>
            <a:r>
              <a:rPr lang="nl-NL" dirty="0"/>
              <a:t>Tweede niveau</a:t>
            </a:r>
          </a:p>
        </p:txBody>
      </p:sp>
      <p:grpSp>
        <p:nvGrpSpPr>
          <p:cNvPr id="7" name="Instructie Tekst">
            <a:extLst>
              <a:ext uri="{FF2B5EF4-FFF2-40B4-BE49-F238E27FC236}">
                <a16:creationId xmlns:a16="http://schemas.microsoft.com/office/drawing/2014/main" xmlns="" id="{67CA1FAF-D7C6-8645-9BA7-E3BF5C49D6EA}"/>
              </a:ext>
            </a:extLst>
          </p:cNvPr>
          <p:cNvGrpSpPr/>
          <p:nvPr userDrawn="1"/>
        </p:nvGrpSpPr>
        <p:grpSpPr>
          <a:xfrm>
            <a:off x="-2916113" y="0"/>
            <a:ext cx="2688057" cy="3772106"/>
            <a:chOff x="-2959433" y="-5444"/>
            <a:chExt cx="2688057" cy="3772106"/>
          </a:xfrm>
        </p:grpSpPr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xmlns="" id="{F575FB4D-8D32-3641-B6D2-1FFA247885E9}"/>
                </a:ext>
              </a:extLst>
            </p:cNvPr>
            <p:cNvSpPr/>
            <p:nvPr userDrawn="1"/>
          </p:nvSpPr>
          <p:spPr>
            <a:xfrm>
              <a:off x="-2959433" y="-5444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TEKST NIVEAUS</a:t>
              </a:r>
            </a:p>
          </p:txBody>
        </p:sp>
        <p:sp>
          <p:nvSpPr>
            <p:cNvPr id="10" name="Textfield placeholder">
              <a:extLst>
                <a:ext uri="{FF2B5EF4-FFF2-40B4-BE49-F238E27FC236}">
                  <a16:creationId xmlns:a16="http://schemas.microsoft.com/office/drawing/2014/main" xmlns="" id="{49F9EB5D-42E7-5C40-BE45-2917BB12F2C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87337" y="2675411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542925" marR="0" lvl="0" indent="-180975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5"/>
                </a:buClr>
                <a:buSzPct val="80000"/>
                <a:buFont typeface="Arial" panose="020B0604020202020204" pitchFamily="34" charset="0"/>
                <a:buChar char="-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b-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#2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11" name="Ovaal 10">
              <a:extLst>
                <a:ext uri="{FF2B5EF4-FFF2-40B4-BE49-F238E27FC236}">
                  <a16:creationId xmlns:a16="http://schemas.microsoft.com/office/drawing/2014/main" xmlns="" id="{FEFE7BAB-B81A-1345-A6FA-2600B8057835}"/>
                </a:ext>
              </a:extLst>
            </p:cNvPr>
            <p:cNvSpPr/>
            <p:nvPr userDrawn="1"/>
          </p:nvSpPr>
          <p:spPr>
            <a:xfrm>
              <a:off x="-2959433" y="196874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xmlns="" id="{B9242605-1DB3-DF49-BA3C-0C9C277B2252}"/>
                </a:ext>
              </a:extLst>
            </p:cNvPr>
            <p:cNvSpPr/>
            <p:nvPr userDrawn="1"/>
          </p:nvSpPr>
          <p:spPr>
            <a:xfrm>
              <a:off x="-2959433" y="2322077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xmlns="" id="{BCF0E65E-48CF-CD43-A35D-74141296A704}"/>
                </a:ext>
              </a:extLst>
            </p:cNvPr>
            <p:cNvSpPr/>
            <p:nvPr userDrawn="1"/>
          </p:nvSpPr>
          <p:spPr>
            <a:xfrm>
              <a:off x="-2959433" y="267541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" name="Ovaal 13">
              <a:extLst>
                <a:ext uri="{FF2B5EF4-FFF2-40B4-BE49-F238E27FC236}">
                  <a16:creationId xmlns:a16="http://schemas.microsoft.com/office/drawing/2014/main" xmlns="" id="{89AD4D66-398D-E746-A571-88A4DA1E612D}"/>
                </a:ext>
              </a:extLst>
            </p:cNvPr>
            <p:cNvSpPr/>
            <p:nvPr userDrawn="1"/>
          </p:nvSpPr>
          <p:spPr>
            <a:xfrm>
              <a:off x="-2959433" y="3028747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5" name="Textfield placeholder">
              <a:extLst>
                <a:ext uri="{FF2B5EF4-FFF2-40B4-BE49-F238E27FC236}">
                  <a16:creationId xmlns:a16="http://schemas.microsoft.com/office/drawing/2014/main" xmlns="" id="{C73F4408-9C6C-304C-ABC9-17674BF1F2D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1966925"/>
              <a:ext cx="2163709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marR="0" lvl="1" indent="-2286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Helvetica" pitchFamily="2" charset="0"/>
                <a:buChar char="●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16" name="Textfield placeholder">
              <a:extLst>
                <a:ext uri="{FF2B5EF4-FFF2-40B4-BE49-F238E27FC236}">
                  <a16:creationId xmlns:a16="http://schemas.microsoft.com/office/drawing/2014/main" xmlns="" id="{7673156F-6098-0845-B555-CA45B3F54A2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2322077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marR="0" lvl="2" indent="-174625" algn="l" defTabSz="914400" rtl="0" eaLnBrk="1" fontAlgn="auto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5"/>
                </a:buClr>
                <a:buSzTx/>
                <a:buFont typeface="Arial" panose="020B0604020202020204" pitchFamily="34" charset="0"/>
                <a:buChar char="•"/>
                <a:tabLst>
                  <a:tab pos="4394200" algn="l"/>
                </a:tabLst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b-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#1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17" name="Textfield placeholder">
              <a:extLst>
                <a:ext uri="{FF2B5EF4-FFF2-40B4-BE49-F238E27FC236}">
                  <a16:creationId xmlns:a16="http://schemas.microsoft.com/office/drawing/2014/main" xmlns="" id="{B74CCDD8-E03A-4049-ADDF-5C726B85C14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3028747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3" indent="0" algn="l" defTabSz="914400" rtl="0" eaLnBrk="1" fontAlgn="auto" latinLnBrk="0" hangingPunct="1">
                <a:lnSpc>
                  <a:spcPts val="17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Leestek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cxnSp>
          <p:nvCxnSpPr>
            <p:cNvPr id="18" name="Rechte verbindingslijn 17">
              <a:extLst>
                <a:ext uri="{FF2B5EF4-FFF2-40B4-BE49-F238E27FC236}">
                  <a16:creationId xmlns:a16="http://schemas.microsoft.com/office/drawing/2014/main" xmlns="" id="{638631AF-1CB5-FA48-8720-C66B5536F729}"/>
                </a:ext>
              </a:extLst>
            </p:cNvPr>
            <p:cNvCxnSpPr/>
            <p:nvPr userDrawn="1"/>
          </p:nvCxnSpPr>
          <p:spPr>
            <a:xfrm>
              <a:off x="-2959100" y="274900"/>
              <a:ext cx="2674470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xmlns="" id="{B7ABC5D6-5731-5740-B043-9A677465B1EE}"/>
                </a:ext>
              </a:extLst>
            </p:cNvPr>
            <p:cNvCxnSpPr/>
            <p:nvPr userDrawn="1"/>
          </p:nvCxnSpPr>
          <p:spPr>
            <a:xfrm>
              <a:off x="-2959100" y="1841989"/>
              <a:ext cx="2661379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20" name="Rechte verbindingslijn 19">
              <a:extLst>
                <a:ext uri="{FF2B5EF4-FFF2-40B4-BE49-F238E27FC236}">
                  <a16:creationId xmlns:a16="http://schemas.microsoft.com/office/drawing/2014/main" xmlns="" id="{585B40C8-1F83-C44E-B422-DE661D43ACEC}"/>
                </a:ext>
              </a:extLst>
            </p:cNvPr>
            <p:cNvCxnSpPr/>
            <p:nvPr userDrawn="1"/>
          </p:nvCxnSpPr>
          <p:spPr>
            <a:xfrm>
              <a:off x="-2959100" y="3766662"/>
              <a:ext cx="2661379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grpSp>
          <p:nvGrpSpPr>
            <p:cNvPr id="21" name="Groep 20">
              <a:extLst>
                <a:ext uri="{FF2B5EF4-FFF2-40B4-BE49-F238E27FC236}">
                  <a16:creationId xmlns:a16="http://schemas.microsoft.com/office/drawing/2014/main" xmlns="" id="{6BD90498-A8B1-5045-8D71-6CC5CE38CA75}"/>
                </a:ext>
              </a:extLst>
            </p:cNvPr>
            <p:cNvGrpSpPr/>
            <p:nvPr userDrawn="1"/>
          </p:nvGrpSpPr>
          <p:grpSpPr>
            <a:xfrm>
              <a:off x="-1948476" y="816741"/>
              <a:ext cx="409108" cy="427699"/>
              <a:chOff x="-1085063" y="758027"/>
              <a:chExt cx="633799" cy="622540"/>
            </a:xfrm>
          </p:grpSpPr>
          <p:sp>
            <p:nvSpPr>
              <p:cNvPr id="70" name="Afgeronde rechthoek 69">
                <a:extLst>
                  <a:ext uri="{FF2B5EF4-FFF2-40B4-BE49-F238E27FC236}">
                    <a16:creationId xmlns:a16="http://schemas.microsoft.com/office/drawing/2014/main" xmlns="" id="{EDBAB9AE-9A9A-ED42-8164-A508560880C6}"/>
                  </a:ext>
                </a:extLst>
              </p:cNvPr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F291F"/>
                  </a:solidFill>
                  <a:effectLst/>
                  <a:uLnTx/>
                  <a:uFillTx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1" name="Groep 70">
                <a:extLst>
                  <a:ext uri="{FF2B5EF4-FFF2-40B4-BE49-F238E27FC236}">
                    <a16:creationId xmlns:a16="http://schemas.microsoft.com/office/drawing/2014/main" xmlns="" id="{9AB5D067-D379-6B49-B800-0E0D1CE1D6DA}"/>
                  </a:ext>
                </a:extLst>
              </p:cNvPr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72" name="Rechthoek 71">
                  <a:extLst>
                    <a:ext uri="{FF2B5EF4-FFF2-40B4-BE49-F238E27FC236}">
                      <a16:creationId xmlns:a16="http://schemas.microsoft.com/office/drawing/2014/main" xmlns="" id="{F556FB94-4E30-7A45-A569-F03B21780C1E}"/>
                    </a:ext>
                  </a:extLst>
                </p:cNvPr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3" name="Rechthoek 72">
                  <a:extLst>
                    <a:ext uri="{FF2B5EF4-FFF2-40B4-BE49-F238E27FC236}">
                      <a16:creationId xmlns:a16="http://schemas.microsoft.com/office/drawing/2014/main" xmlns="" id="{A520E0F7-4F16-AD43-971E-ECEABDB8B0DB}"/>
                    </a:ext>
                  </a:extLst>
                </p:cNvPr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4" name="Rechthoek 73">
                  <a:extLst>
                    <a:ext uri="{FF2B5EF4-FFF2-40B4-BE49-F238E27FC236}">
                      <a16:creationId xmlns:a16="http://schemas.microsoft.com/office/drawing/2014/main" xmlns="" id="{F3973783-111F-B745-B0BB-5A4A0C95B80B}"/>
                    </a:ext>
                  </a:extLst>
                </p:cNvPr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5" name="Rechthoek 74">
                  <a:extLst>
                    <a:ext uri="{FF2B5EF4-FFF2-40B4-BE49-F238E27FC236}">
                      <a16:creationId xmlns:a16="http://schemas.microsoft.com/office/drawing/2014/main" xmlns="" id="{90E02D85-D421-6F44-98AA-25F2BAF0C19C}"/>
                    </a:ext>
                  </a:extLst>
                </p:cNvPr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6" name="Rechthoek 75">
                  <a:extLst>
                    <a:ext uri="{FF2B5EF4-FFF2-40B4-BE49-F238E27FC236}">
                      <a16:creationId xmlns:a16="http://schemas.microsoft.com/office/drawing/2014/main" xmlns="" id="{0DFD369E-4238-4148-BCC0-7EFC7807E7F4}"/>
                    </a:ext>
                  </a:extLst>
                </p:cNvPr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7" name="Rechthoek 76">
                  <a:extLst>
                    <a:ext uri="{FF2B5EF4-FFF2-40B4-BE49-F238E27FC236}">
                      <a16:creationId xmlns:a16="http://schemas.microsoft.com/office/drawing/2014/main" xmlns="" id="{6E73D971-B3EE-9145-AAD6-9B0700AB7397}"/>
                    </a:ext>
                  </a:extLst>
                </p:cNvPr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8" name="Rechthoek 77">
                  <a:extLst>
                    <a:ext uri="{FF2B5EF4-FFF2-40B4-BE49-F238E27FC236}">
                      <a16:creationId xmlns:a16="http://schemas.microsoft.com/office/drawing/2014/main" xmlns="" id="{27F94130-1AE8-394A-A0D0-DAD2C952F292}"/>
                    </a:ext>
                  </a:extLst>
                </p:cNvPr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79" name="Rechthoek 78">
                  <a:extLst>
                    <a:ext uri="{FF2B5EF4-FFF2-40B4-BE49-F238E27FC236}">
                      <a16:creationId xmlns:a16="http://schemas.microsoft.com/office/drawing/2014/main" xmlns="" id="{0AF6A861-1E3C-0642-83A4-39010FFCE68F}"/>
                    </a:ext>
                  </a:extLst>
                </p:cNvPr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80" name="Rechthoek 79">
                  <a:extLst>
                    <a:ext uri="{FF2B5EF4-FFF2-40B4-BE49-F238E27FC236}">
                      <a16:creationId xmlns:a16="http://schemas.microsoft.com/office/drawing/2014/main" xmlns="" id="{C0BC3C02-6A77-D043-A3D0-B76D42743EA3}"/>
                    </a:ext>
                  </a:extLst>
                </p:cNvPr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81" name="Rechthoek 80">
                  <a:extLst>
                    <a:ext uri="{FF2B5EF4-FFF2-40B4-BE49-F238E27FC236}">
                      <a16:creationId xmlns:a16="http://schemas.microsoft.com/office/drawing/2014/main" xmlns="" id="{B2389FC7-8040-A149-93C2-F01CCC323911}"/>
                    </a:ext>
                  </a:extLst>
                </p:cNvPr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82" name="Vrije vorm 81">
                  <a:extLst>
                    <a:ext uri="{FF2B5EF4-FFF2-40B4-BE49-F238E27FC236}">
                      <a16:creationId xmlns:a16="http://schemas.microsoft.com/office/drawing/2014/main" xmlns="" id="{7C2597E1-D6B8-CB45-8CB0-2620E9903AB2}"/>
                    </a:ext>
                  </a:extLst>
                </p:cNvPr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22" name="Groep 21">
              <a:extLst>
                <a:ext uri="{FF2B5EF4-FFF2-40B4-BE49-F238E27FC236}">
                  <a16:creationId xmlns:a16="http://schemas.microsoft.com/office/drawing/2014/main" xmlns="" id="{5D70AFD9-A3E4-3F46-882E-50EC82A29740}"/>
                </a:ext>
              </a:extLst>
            </p:cNvPr>
            <p:cNvGrpSpPr/>
            <p:nvPr/>
          </p:nvGrpSpPr>
          <p:grpSpPr>
            <a:xfrm>
              <a:off x="-2950232" y="1207835"/>
              <a:ext cx="532929" cy="509563"/>
              <a:chOff x="-2880382" y="802341"/>
              <a:chExt cx="532929" cy="509563"/>
            </a:xfrm>
          </p:grpSpPr>
          <p:sp>
            <p:nvSpPr>
              <p:cNvPr id="47" name="Rechthoek 46">
                <a:extLst>
                  <a:ext uri="{FF2B5EF4-FFF2-40B4-BE49-F238E27FC236}">
                    <a16:creationId xmlns:a16="http://schemas.microsoft.com/office/drawing/2014/main" xmlns="" id="{C4848FAF-2946-204C-921D-975E6B3420AF}"/>
                  </a:ext>
                </a:extLst>
              </p:cNvPr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pic>
            <p:nvPicPr>
              <p:cNvPr id="48" name="Picture 2">
                <a:extLst>
                  <a:ext uri="{FF2B5EF4-FFF2-40B4-BE49-F238E27FC236}">
                    <a16:creationId xmlns:a16="http://schemas.microsoft.com/office/drawing/2014/main" xmlns="" id="{FFE844F2-7945-3646-B552-421405CC59E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49" name="Picture 3">
                <a:extLst>
                  <a:ext uri="{FF2B5EF4-FFF2-40B4-BE49-F238E27FC236}">
                    <a16:creationId xmlns:a16="http://schemas.microsoft.com/office/drawing/2014/main" xmlns="" id="{01604DEC-121D-CC4D-B642-F7DB4957BF1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50" name="Groep 49">
                <a:extLst>
                  <a:ext uri="{FF2B5EF4-FFF2-40B4-BE49-F238E27FC236}">
                    <a16:creationId xmlns:a16="http://schemas.microsoft.com/office/drawing/2014/main" xmlns="" id="{892FCA64-9D0F-7446-87AB-A32EF41B5330}"/>
                  </a:ext>
                </a:extLst>
              </p:cNvPr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65" name="Rechthoek 64">
                  <a:extLst>
                    <a:ext uri="{FF2B5EF4-FFF2-40B4-BE49-F238E27FC236}">
                      <a16:creationId xmlns:a16="http://schemas.microsoft.com/office/drawing/2014/main" xmlns="" id="{2451AC24-CE71-0E44-90FC-CAD57F2AC08A}"/>
                    </a:ext>
                  </a:extLst>
                </p:cNvPr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6" name="Rechthoek 65">
                  <a:extLst>
                    <a:ext uri="{FF2B5EF4-FFF2-40B4-BE49-F238E27FC236}">
                      <a16:creationId xmlns:a16="http://schemas.microsoft.com/office/drawing/2014/main" xmlns="" id="{704C9EBA-A7E8-B548-9263-EA637DC2F8FE}"/>
                    </a:ext>
                  </a:extLst>
                </p:cNvPr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7" name="Rechthoek 66">
                  <a:extLst>
                    <a:ext uri="{FF2B5EF4-FFF2-40B4-BE49-F238E27FC236}">
                      <a16:creationId xmlns:a16="http://schemas.microsoft.com/office/drawing/2014/main" xmlns="" id="{1620367A-F88E-EC4B-ACAF-7FF0106E60E4}"/>
                    </a:ext>
                  </a:extLst>
                </p:cNvPr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8" name="Rechthoek 67">
                  <a:extLst>
                    <a:ext uri="{FF2B5EF4-FFF2-40B4-BE49-F238E27FC236}">
                      <a16:creationId xmlns:a16="http://schemas.microsoft.com/office/drawing/2014/main" xmlns="" id="{35503B2B-CD0D-C94D-B2AE-E305007F29B0}"/>
                    </a:ext>
                  </a:extLst>
                </p:cNvPr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69" name="Rechthoek 68">
                  <a:extLst>
                    <a:ext uri="{FF2B5EF4-FFF2-40B4-BE49-F238E27FC236}">
                      <a16:creationId xmlns:a16="http://schemas.microsoft.com/office/drawing/2014/main" xmlns="" id="{E4068239-4A91-D24C-8CE4-F53D13B1DA08}"/>
                    </a:ext>
                  </a:extLst>
                </p:cNvPr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51" name="Groep 50">
                <a:extLst>
                  <a:ext uri="{FF2B5EF4-FFF2-40B4-BE49-F238E27FC236}">
                    <a16:creationId xmlns:a16="http://schemas.microsoft.com/office/drawing/2014/main" xmlns="" id="{8A940F0C-5304-314F-998A-04E89BAA0135}"/>
                  </a:ext>
                </a:extLst>
              </p:cNvPr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52" name="Groep 51">
                  <a:extLst>
                    <a:ext uri="{FF2B5EF4-FFF2-40B4-BE49-F238E27FC236}">
                      <a16:creationId xmlns:a16="http://schemas.microsoft.com/office/drawing/2014/main" xmlns="" id="{1DBB4CA5-7B12-F84F-8E17-68E1BCD1E882}"/>
                    </a:ext>
                  </a:extLst>
                </p:cNvPr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60" name="Rechthoek 59">
                    <a:extLst>
                      <a:ext uri="{FF2B5EF4-FFF2-40B4-BE49-F238E27FC236}">
                        <a16:creationId xmlns:a16="http://schemas.microsoft.com/office/drawing/2014/main" xmlns="" id="{AC5BCD62-0A72-BF4B-A51E-9A27E5D20481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61" name="Rechthoek 60">
                    <a:extLst>
                      <a:ext uri="{FF2B5EF4-FFF2-40B4-BE49-F238E27FC236}">
                        <a16:creationId xmlns:a16="http://schemas.microsoft.com/office/drawing/2014/main" xmlns="" id="{C0D845DE-FC73-584A-8F33-AB24DB1ECF96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62" name="Rechthoek 61">
                    <a:extLst>
                      <a:ext uri="{FF2B5EF4-FFF2-40B4-BE49-F238E27FC236}">
                        <a16:creationId xmlns:a16="http://schemas.microsoft.com/office/drawing/2014/main" xmlns="" id="{8BC5892D-D62C-F443-865C-3B898B024E17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63" name="Rechthoek 62">
                    <a:extLst>
                      <a:ext uri="{FF2B5EF4-FFF2-40B4-BE49-F238E27FC236}">
                        <a16:creationId xmlns:a16="http://schemas.microsoft.com/office/drawing/2014/main" xmlns="" id="{02DE9CF0-96B1-E944-BCD3-E7110699D2CC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64" name="Rechthoek 63">
                    <a:extLst>
                      <a:ext uri="{FF2B5EF4-FFF2-40B4-BE49-F238E27FC236}">
                        <a16:creationId xmlns:a16="http://schemas.microsoft.com/office/drawing/2014/main" xmlns="" id="{4E3E8391-1814-8248-A990-9930427395BE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</p:grpSp>
            <p:grpSp>
              <p:nvGrpSpPr>
                <p:cNvPr id="54" name="Groep 53">
                  <a:extLst>
                    <a:ext uri="{FF2B5EF4-FFF2-40B4-BE49-F238E27FC236}">
                      <a16:creationId xmlns:a16="http://schemas.microsoft.com/office/drawing/2014/main" xmlns="" id="{AE1246B3-6A06-4842-8077-06D4B1E2D422}"/>
                    </a:ext>
                  </a:extLst>
                </p:cNvPr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55" name="Rechthoek 54">
                    <a:extLst>
                      <a:ext uri="{FF2B5EF4-FFF2-40B4-BE49-F238E27FC236}">
                        <a16:creationId xmlns:a16="http://schemas.microsoft.com/office/drawing/2014/main" xmlns="" id="{7B588091-156D-7B4F-AC64-87A51A295432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56" name="Rechthoek 55">
                    <a:extLst>
                      <a:ext uri="{FF2B5EF4-FFF2-40B4-BE49-F238E27FC236}">
                        <a16:creationId xmlns:a16="http://schemas.microsoft.com/office/drawing/2014/main" xmlns="" id="{4E0B4AD4-E5BA-734A-933A-9F55618A348D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57" name="Rechthoek 56">
                    <a:extLst>
                      <a:ext uri="{FF2B5EF4-FFF2-40B4-BE49-F238E27FC236}">
                        <a16:creationId xmlns:a16="http://schemas.microsoft.com/office/drawing/2014/main" xmlns="" id="{3D209640-BEEE-2345-A9AD-E4D94B306172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58" name="Rechthoek 57">
                    <a:extLst>
                      <a:ext uri="{FF2B5EF4-FFF2-40B4-BE49-F238E27FC236}">
                        <a16:creationId xmlns:a16="http://schemas.microsoft.com/office/drawing/2014/main" xmlns="" id="{4D219B45-6707-8744-90E9-2DE0E3A99722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59" name="Rechthoek 58">
                    <a:extLst>
                      <a:ext uri="{FF2B5EF4-FFF2-40B4-BE49-F238E27FC236}">
                        <a16:creationId xmlns:a16="http://schemas.microsoft.com/office/drawing/2014/main" xmlns="" id="{B853EA9B-C319-6B46-8564-1D484A618C04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grpSp>
          <p:nvGrpSpPr>
            <p:cNvPr id="23" name="Groep 22">
              <a:extLst>
                <a:ext uri="{FF2B5EF4-FFF2-40B4-BE49-F238E27FC236}">
                  <a16:creationId xmlns:a16="http://schemas.microsoft.com/office/drawing/2014/main" xmlns="" id="{DA241099-E5A7-D041-9D50-2DB9B174B5CD}"/>
                </a:ext>
              </a:extLst>
            </p:cNvPr>
            <p:cNvGrpSpPr/>
            <p:nvPr userDrawn="1"/>
          </p:nvGrpSpPr>
          <p:grpSpPr>
            <a:xfrm>
              <a:off x="-1948476" y="1281164"/>
              <a:ext cx="413704" cy="427699"/>
              <a:chOff x="-1845083" y="758027"/>
              <a:chExt cx="633799" cy="622540"/>
            </a:xfrm>
          </p:grpSpPr>
          <p:sp>
            <p:nvSpPr>
              <p:cNvPr id="34" name="Afgeronde rechthoek 33">
                <a:extLst>
                  <a:ext uri="{FF2B5EF4-FFF2-40B4-BE49-F238E27FC236}">
                    <a16:creationId xmlns:a16="http://schemas.microsoft.com/office/drawing/2014/main" xmlns="" id="{309863FC-91C6-1F46-B222-78B5DC06F92A}"/>
                  </a:ext>
                </a:extLst>
              </p:cNvPr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F291F"/>
                  </a:solidFill>
                  <a:effectLst/>
                  <a:uLnTx/>
                  <a:uFillTx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35" name="Groep 34">
                <a:extLst>
                  <a:ext uri="{FF2B5EF4-FFF2-40B4-BE49-F238E27FC236}">
                    <a16:creationId xmlns:a16="http://schemas.microsoft.com/office/drawing/2014/main" xmlns="" id="{371FCAAC-3690-C649-9870-960CA15D9AF3}"/>
                  </a:ext>
                </a:extLst>
              </p:cNvPr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36" name="Rechthoek 35">
                  <a:extLst>
                    <a:ext uri="{FF2B5EF4-FFF2-40B4-BE49-F238E27FC236}">
                      <a16:creationId xmlns:a16="http://schemas.microsoft.com/office/drawing/2014/main" xmlns="" id="{A35A0C7E-FCA6-3643-8E00-9D5511A87358}"/>
                    </a:ext>
                  </a:extLst>
                </p:cNvPr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7" name="Rechthoek 36">
                  <a:extLst>
                    <a:ext uri="{FF2B5EF4-FFF2-40B4-BE49-F238E27FC236}">
                      <a16:creationId xmlns:a16="http://schemas.microsoft.com/office/drawing/2014/main" xmlns="" id="{4F1DE936-2477-FE4C-BF5C-253960297C66}"/>
                    </a:ext>
                  </a:extLst>
                </p:cNvPr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8" name="Rechthoek 37">
                  <a:extLst>
                    <a:ext uri="{FF2B5EF4-FFF2-40B4-BE49-F238E27FC236}">
                      <a16:creationId xmlns:a16="http://schemas.microsoft.com/office/drawing/2014/main" xmlns="" id="{8136D093-152E-0243-94AA-324724943318}"/>
                    </a:ext>
                  </a:extLst>
                </p:cNvPr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39" name="Rechthoek 38">
                  <a:extLst>
                    <a:ext uri="{FF2B5EF4-FFF2-40B4-BE49-F238E27FC236}">
                      <a16:creationId xmlns:a16="http://schemas.microsoft.com/office/drawing/2014/main" xmlns="" id="{083677D9-E8A3-E54C-B86A-6DC305C43176}"/>
                    </a:ext>
                  </a:extLst>
                </p:cNvPr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0" name="Rechthoek 39">
                  <a:extLst>
                    <a:ext uri="{FF2B5EF4-FFF2-40B4-BE49-F238E27FC236}">
                      <a16:creationId xmlns:a16="http://schemas.microsoft.com/office/drawing/2014/main" xmlns="" id="{D96AAB34-EC10-A649-A4D3-BDEB1C7BF679}"/>
                    </a:ext>
                  </a:extLst>
                </p:cNvPr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1" name="Rechthoek 40">
                  <a:extLst>
                    <a:ext uri="{FF2B5EF4-FFF2-40B4-BE49-F238E27FC236}">
                      <a16:creationId xmlns:a16="http://schemas.microsoft.com/office/drawing/2014/main" xmlns="" id="{A60496F9-9D71-494F-84CF-F89E4EA99FA3}"/>
                    </a:ext>
                  </a:extLst>
                </p:cNvPr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2" name="Rechthoek 41">
                  <a:extLst>
                    <a:ext uri="{FF2B5EF4-FFF2-40B4-BE49-F238E27FC236}">
                      <a16:creationId xmlns:a16="http://schemas.microsoft.com/office/drawing/2014/main" xmlns="" id="{B4E454A3-1794-6643-8F0E-525A7384B4B4}"/>
                    </a:ext>
                  </a:extLst>
                </p:cNvPr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3" name="Rechthoek 42">
                  <a:extLst>
                    <a:ext uri="{FF2B5EF4-FFF2-40B4-BE49-F238E27FC236}">
                      <a16:creationId xmlns:a16="http://schemas.microsoft.com/office/drawing/2014/main" xmlns="" id="{98BC6F19-75A7-8D4D-A670-C601BCE7E2A0}"/>
                    </a:ext>
                  </a:extLst>
                </p:cNvPr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4" name="Rechthoek 43">
                  <a:extLst>
                    <a:ext uri="{FF2B5EF4-FFF2-40B4-BE49-F238E27FC236}">
                      <a16:creationId xmlns:a16="http://schemas.microsoft.com/office/drawing/2014/main" xmlns="" id="{906462F0-794C-094A-9D0F-9ABBE1C96D32}"/>
                    </a:ext>
                  </a:extLst>
                </p:cNvPr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5" name="Rechthoek 44">
                  <a:extLst>
                    <a:ext uri="{FF2B5EF4-FFF2-40B4-BE49-F238E27FC236}">
                      <a16:creationId xmlns:a16="http://schemas.microsoft.com/office/drawing/2014/main" xmlns="" id="{0E2BCF8C-6F4D-2E4A-83B4-AB1BCA8DD748}"/>
                    </a:ext>
                  </a:extLst>
                </p:cNvPr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46" name="Vrije vorm 45">
                  <a:extLst>
                    <a:ext uri="{FF2B5EF4-FFF2-40B4-BE49-F238E27FC236}">
                      <a16:creationId xmlns:a16="http://schemas.microsoft.com/office/drawing/2014/main" xmlns="" id="{1C82A74E-E2B0-3041-B9EE-18D7EA529F88}"/>
                    </a:ext>
                  </a:extLst>
                </p:cNvPr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</p:grpSp>
        <p:cxnSp>
          <p:nvCxnSpPr>
            <p:cNvPr id="24" name="Rechte verbindingslijn 23">
              <a:extLst>
                <a:ext uri="{FF2B5EF4-FFF2-40B4-BE49-F238E27FC236}">
                  <a16:creationId xmlns:a16="http://schemas.microsoft.com/office/drawing/2014/main" xmlns="" id="{A7C31BDA-D421-8446-A4C0-5724D002EC1A}"/>
                </a:ext>
              </a:extLst>
            </p:cNvPr>
            <p:cNvCxnSpPr>
              <a:stCxn id="49" idx="2"/>
              <a:endCxn id="34" idx="1"/>
            </p:cNvCxnSpPr>
            <p:nvPr userDrawn="1"/>
          </p:nvCxnSpPr>
          <p:spPr>
            <a:xfrm>
              <a:off x="-2814292" y="1441193"/>
              <a:ext cx="865816" cy="53821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headEnd type="oval"/>
            </a:ln>
            <a:effectLst/>
          </p:spPr>
        </p:cxnSp>
        <p:cxnSp>
          <p:nvCxnSpPr>
            <p:cNvPr id="25" name="Rechte verbindingslijn 24">
              <a:extLst>
                <a:ext uri="{FF2B5EF4-FFF2-40B4-BE49-F238E27FC236}">
                  <a16:creationId xmlns:a16="http://schemas.microsoft.com/office/drawing/2014/main" xmlns="" id="{3AFC4318-64F6-F847-B22B-883EA551A280}"/>
                </a:ext>
              </a:extLst>
            </p:cNvPr>
            <p:cNvCxnSpPr>
              <a:endCxn id="70" idx="1"/>
            </p:cNvCxnSpPr>
            <p:nvPr userDrawn="1"/>
          </p:nvCxnSpPr>
          <p:spPr>
            <a:xfrm flipV="1">
              <a:off x="-2453902" y="1030591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headEnd type="oval"/>
            </a:ln>
            <a:effectLst/>
          </p:spPr>
        </p:cxnSp>
        <p:sp>
          <p:nvSpPr>
            <p:cNvPr id="26" name="Textfield placeholder">
              <a:extLst>
                <a:ext uri="{FF2B5EF4-FFF2-40B4-BE49-F238E27FC236}">
                  <a16:creationId xmlns:a16="http://schemas.microsoft.com/office/drawing/2014/main" xmlns="" id="{656E717A-48A5-EF46-94E9-DAD5490A471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341598" y="816743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iveau omhoog</a:t>
              </a:r>
            </a:p>
          </p:txBody>
        </p:sp>
        <p:sp>
          <p:nvSpPr>
            <p:cNvPr id="27" name="Textfield placeholder">
              <a:extLst>
                <a:ext uri="{FF2B5EF4-FFF2-40B4-BE49-F238E27FC236}">
                  <a16:creationId xmlns:a16="http://schemas.microsoft.com/office/drawing/2014/main" xmlns="" id="{DBE3FABE-66B9-7F4E-9A15-7D1F46C47B4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341599" y="1281164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iveau omlaag</a:t>
              </a:r>
            </a:p>
          </p:txBody>
        </p:sp>
        <p:sp>
          <p:nvSpPr>
            <p:cNvPr id="28" name="Ovaal 27">
              <a:extLst>
                <a:ext uri="{FF2B5EF4-FFF2-40B4-BE49-F238E27FC236}">
                  <a16:creationId xmlns:a16="http://schemas.microsoft.com/office/drawing/2014/main" xmlns="" id="{C262196B-329F-8B40-B351-2D6F5D19430A}"/>
                </a:ext>
              </a:extLst>
            </p:cNvPr>
            <p:cNvSpPr/>
            <p:nvPr userDrawn="1"/>
          </p:nvSpPr>
          <p:spPr>
            <a:xfrm>
              <a:off x="-2959433" y="338208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9" name="Textfield placeholder">
              <a:extLst>
                <a:ext uri="{FF2B5EF4-FFF2-40B4-BE49-F238E27FC236}">
                  <a16:creationId xmlns:a16="http://schemas.microsoft.com/office/drawing/2014/main" xmlns="" id="{425499E3-FF88-F84C-8724-F14B90F8C0DB}"/>
                </a:ext>
              </a:extLst>
            </p:cNvPr>
            <p:cNvSpPr txBox="1">
              <a:spLocks/>
            </p:cNvSpPr>
            <p:nvPr/>
          </p:nvSpPr>
          <p:spPr>
            <a:xfrm>
              <a:off x="-2571950" y="3382082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3" indent="0" algn="l" defTabSz="914400" rtl="0" eaLnBrk="1" fontAlgn="auto" latinLnBrk="0" hangingPunct="1">
                <a:lnSpc>
                  <a:spcPts val="17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Kop (20 </a:t>
              </a:r>
              <a:r>
                <a:rPr kumimoji="0" lang="nl-NL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grpSp>
          <p:nvGrpSpPr>
            <p:cNvPr id="30" name="Groep 29">
              <a:extLst>
                <a:ext uri="{FF2B5EF4-FFF2-40B4-BE49-F238E27FC236}">
                  <a16:creationId xmlns:a16="http://schemas.microsoft.com/office/drawing/2014/main" xmlns="" id="{2FA5402C-2392-B14C-963A-7AED2C89533C}"/>
                </a:ext>
              </a:extLst>
            </p:cNvPr>
            <p:cNvGrpSpPr/>
            <p:nvPr/>
          </p:nvGrpSpPr>
          <p:grpSpPr>
            <a:xfrm>
              <a:off x="-2950232" y="816050"/>
              <a:ext cx="528695" cy="344202"/>
              <a:chOff x="-2880382" y="410556"/>
              <a:chExt cx="528695" cy="344202"/>
            </a:xfrm>
          </p:grpSpPr>
          <p:sp>
            <p:nvSpPr>
              <p:cNvPr id="32" name="Afgeronde rechthoek 31">
                <a:extLst>
                  <a:ext uri="{FF2B5EF4-FFF2-40B4-BE49-F238E27FC236}">
                    <a16:creationId xmlns:a16="http://schemas.microsoft.com/office/drawing/2014/main" xmlns="" id="{531D6478-C181-7C43-88E8-85D94D99D3C1}"/>
                  </a:ext>
                </a:extLst>
              </p:cNvPr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sp>
            <p:nvSpPr>
              <p:cNvPr id="33" name="Vrije vorm 32">
                <a:extLst>
                  <a:ext uri="{FF2B5EF4-FFF2-40B4-BE49-F238E27FC236}">
                    <a16:creationId xmlns:a16="http://schemas.microsoft.com/office/drawing/2014/main" xmlns="" id="{9567356E-B044-DA43-9DC4-235E562F1182}"/>
                  </a:ext>
                </a:extLst>
              </p:cNvPr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9525" cap="flat" cmpd="sng" algn="ctr">
                <a:solidFill>
                  <a:srgbClr val="FFFFFF">
                    <a:lumMod val="9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Start</a:t>
                </a:r>
              </a:p>
            </p:txBody>
          </p:sp>
        </p:grpSp>
        <p:sp>
          <p:nvSpPr>
            <p:cNvPr id="31" name="Tekstvak 33">
              <a:extLst>
                <a:ext uri="{FF2B5EF4-FFF2-40B4-BE49-F238E27FC236}">
                  <a16:creationId xmlns:a16="http://schemas.microsoft.com/office/drawing/2014/main" xmlns="" id="{C692779F-1D32-F24B-AE05-9A884CFE43AF}"/>
                </a:ext>
              </a:extLst>
            </p:cNvPr>
            <p:cNvSpPr txBox="1"/>
            <p:nvPr userDrawn="1"/>
          </p:nvSpPr>
          <p:spPr>
            <a:xfrm>
              <a:off x="-2959433" y="372104"/>
              <a:ext cx="2679887" cy="45339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a naar de tab </a:t>
              </a:r>
              <a:r>
                <a:rPr kumimoji="0" lang="nl-NL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tart’ </a:t>
              </a:r>
              <a:r>
                <a:rPr kumimoji="0" lang="nl-NL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en vind onderstaande knoppen onder </a:t>
              </a:r>
              <a:r>
                <a:rPr kumimoji="0" lang="nl-NL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‘Alinea’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220310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/ tekst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Tekstvak 190"/>
          <p:cNvSpPr txBox="1"/>
          <p:nvPr userDrawn="1"/>
        </p:nvSpPr>
        <p:spPr>
          <a:xfrm>
            <a:off x="-85057" y="-437946"/>
            <a:ext cx="30015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0" i="0" dirty="0">
                <a:solidFill>
                  <a:schemeClr val="accent5"/>
                </a:solidFill>
                <a:latin typeface="Arial"/>
                <a:cs typeface="Arial"/>
              </a:rPr>
              <a:t>TEKST &amp; TEKST (50% - 50%)</a:t>
            </a:r>
          </a:p>
        </p:txBody>
      </p:sp>
      <p:sp>
        <p:nvSpPr>
          <p:cNvPr id="54" name="Rectangle 2">
            <a:extLst>
              <a:ext uri="{FF2B5EF4-FFF2-40B4-BE49-F238E27FC236}">
                <a16:creationId xmlns:a16="http://schemas.microsoft.com/office/drawing/2014/main" xmlns="" id="{985D1B44-B8E9-9A44-AC5D-8B971922862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958" y="908721"/>
            <a:ext cx="11235553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Titelstijl van model bewerken</a:t>
            </a:r>
          </a:p>
        </p:txBody>
      </p:sp>
      <p:sp>
        <p:nvSpPr>
          <p:cNvPr id="6" name="Tijdelijke aanduiding voor voettekst 1">
            <a:extLst>
              <a:ext uri="{FF2B5EF4-FFF2-40B4-BE49-F238E27FC236}">
                <a16:creationId xmlns:a16="http://schemas.microsoft.com/office/drawing/2014/main" xmlns="" id="{7FE5C072-EB41-3C45-901F-520B8F6893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958" y="6304235"/>
            <a:ext cx="112355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7" name="Tijdelijke aanduiding voor datum 2">
            <a:extLst>
              <a:ext uri="{FF2B5EF4-FFF2-40B4-BE49-F238E27FC236}">
                <a16:creationId xmlns:a16="http://schemas.microsoft.com/office/drawing/2014/main" xmlns="" id="{9978A1AD-8B4A-0E48-8A04-71608F815F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F224A15-14B7-544C-8E9F-AB689C6590B8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9" name="Tijdelijke aanduiding voor tekst 2">
            <a:extLst>
              <a:ext uri="{FF2B5EF4-FFF2-40B4-BE49-F238E27FC236}">
                <a16:creationId xmlns:a16="http://schemas.microsoft.com/office/drawing/2014/main" xmlns="" id="{9983F408-6E74-8B4E-9084-E0D0D161D50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5958" y="1994447"/>
            <a:ext cx="5474913" cy="4026842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</a:lstStyle>
          <a:p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Eerste niveau</a:t>
            </a:r>
          </a:p>
          <a:p>
            <a:pPr lvl="2"/>
            <a:r>
              <a:rPr lang="nl-NL" dirty="0"/>
              <a:t>Tweede niveau</a:t>
            </a:r>
          </a:p>
        </p:txBody>
      </p:sp>
      <p:sp>
        <p:nvSpPr>
          <p:cNvPr id="10" name="Tijdelijke aanduiding voor tekst 2">
            <a:extLst>
              <a:ext uri="{FF2B5EF4-FFF2-40B4-BE49-F238E27FC236}">
                <a16:creationId xmlns:a16="http://schemas.microsoft.com/office/drawing/2014/main" xmlns="" id="{427A50A6-E0BB-2548-8CE6-06338736F7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29385" y="1994447"/>
            <a:ext cx="5474913" cy="4026842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</a:lstStyle>
          <a:p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Eerste niveau</a:t>
            </a:r>
          </a:p>
          <a:p>
            <a:pPr lvl="2"/>
            <a:r>
              <a:rPr lang="nl-NL" dirty="0"/>
              <a:t>Tweede niveau</a:t>
            </a:r>
          </a:p>
        </p:txBody>
      </p:sp>
      <p:grpSp>
        <p:nvGrpSpPr>
          <p:cNvPr id="85" name="Instructie Tekst">
            <a:extLst>
              <a:ext uri="{FF2B5EF4-FFF2-40B4-BE49-F238E27FC236}">
                <a16:creationId xmlns:a16="http://schemas.microsoft.com/office/drawing/2014/main" xmlns="" id="{8D600784-A6A1-694E-B31F-FC6AE880022B}"/>
              </a:ext>
            </a:extLst>
          </p:cNvPr>
          <p:cNvGrpSpPr/>
          <p:nvPr userDrawn="1"/>
        </p:nvGrpSpPr>
        <p:grpSpPr>
          <a:xfrm>
            <a:off x="-2916113" y="0"/>
            <a:ext cx="2688057" cy="3772106"/>
            <a:chOff x="-2959433" y="-5444"/>
            <a:chExt cx="2688057" cy="3772106"/>
          </a:xfrm>
        </p:grpSpPr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xmlns="" id="{02BD8738-4800-7C43-B293-B0A510CE9142}"/>
                </a:ext>
              </a:extLst>
            </p:cNvPr>
            <p:cNvSpPr/>
            <p:nvPr userDrawn="1"/>
          </p:nvSpPr>
          <p:spPr>
            <a:xfrm>
              <a:off x="-2959433" y="-5444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TEKST NIVEAUS</a:t>
              </a:r>
            </a:p>
          </p:txBody>
        </p:sp>
        <p:sp>
          <p:nvSpPr>
            <p:cNvPr id="87" name="Textfield placeholder">
              <a:extLst>
                <a:ext uri="{FF2B5EF4-FFF2-40B4-BE49-F238E27FC236}">
                  <a16:creationId xmlns:a16="http://schemas.microsoft.com/office/drawing/2014/main" xmlns="" id="{03AAA44B-3068-3C4E-822B-B7E11EEA5D4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87337" y="2675411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542925" marR="0" lvl="0" indent="-180975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5"/>
                </a:buClr>
                <a:buSzPct val="80000"/>
                <a:buFont typeface="Arial" panose="020B0604020202020204" pitchFamily="34" charset="0"/>
                <a:buChar char="-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b-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#2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88" name="Ovaal 87">
              <a:extLst>
                <a:ext uri="{FF2B5EF4-FFF2-40B4-BE49-F238E27FC236}">
                  <a16:creationId xmlns:a16="http://schemas.microsoft.com/office/drawing/2014/main" xmlns="" id="{730D5E85-E30E-7B40-9BEE-810C67FD40CE}"/>
                </a:ext>
              </a:extLst>
            </p:cNvPr>
            <p:cNvSpPr/>
            <p:nvPr userDrawn="1"/>
          </p:nvSpPr>
          <p:spPr>
            <a:xfrm>
              <a:off x="-2959433" y="196874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89" name="Ovaal 88">
              <a:extLst>
                <a:ext uri="{FF2B5EF4-FFF2-40B4-BE49-F238E27FC236}">
                  <a16:creationId xmlns:a16="http://schemas.microsoft.com/office/drawing/2014/main" xmlns="" id="{2BB9D517-C2C0-3B4A-B2FE-20E49E77FD3F}"/>
                </a:ext>
              </a:extLst>
            </p:cNvPr>
            <p:cNvSpPr/>
            <p:nvPr userDrawn="1"/>
          </p:nvSpPr>
          <p:spPr>
            <a:xfrm>
              <a:off x="-2959433" y="2322077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90" name="Ovaal 89">
              <a:extLst>
                <a:ext uri="{FF2B5EF4-FFF2-40B4-BE49-F238E27FC236}">
                  <a16:creationId xmlns:a16="http://schemas.microsoft.com/office/drawing/2014/main" xmlns="" id="{D416275D-A02A-314A-A09E-1E202B88776B}"/>
                </a:ext>
              </a:extLst>
            </p:cNvPr>
            <p:cNvSpPr/>
            <p:nvPr userDrawn="1"/>
          </p:nvSpPr>
          <p:spPr>
            <a:xfrm>
              <a:off x="-2959433" y="267541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91" name="Ovaal 90">
              <a:extLst>
                <a:ext uri="{FF2B5EF4-FFF2-40B4-BE49-F238E27FC236}">
                  <a16:creationId xmlns:a16="http://schemas.microsoft.com/office/drawing/2014/main" xmlns="" id="{4FE61A76-7E87-AA49-8143-49D92803F710}"/>
                </a:ext>
              </a:extLst>
            </p:cNvPr>
            <p:cNvSpPr/>
            <p:nvPr userDrawn="1"/>
          </p:nvSpPr>
          <p:spPr>
            <a:xfrm>
              <a:off x="-2959433" y="3028747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92" name="Textfield placeholder">
              <a:extLst>
                <a:ext uri="{FF2B5EF4-FFF2-40B4-BE49-F238E27FC236}">
                  <a16:creationId xmlns:a16="http://schemas.microsoft.com/office/drawing/2014/main" xmlns="" id="{BFD4442C-D42F-E148-9DC9-58950FC91E9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1966925"/>
              <a:ext cx="2163709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marR="0" lvl="1" indent="-2286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Helvetica" pitchFamily="2" charset="0"/>
                <a:buChar char="●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93" name="Textfield placeholder">
              <a:extLst>
                <a:ext uri="{FF2B5EF4-FFF2-40B4-BE49-F238E27FC236}">
                  <a16:creationId xmlns:a16="http://schemas.microsoft.com/office/drawing/2014/main" xmlns="" id="{7CF673AF-5FAD-6049-BB04-82F6F0F6616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2322077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marR="0" lvl="2" indent="-174625" algn="l" defTabSz="914400" rtl="0" eaLnBrk="1" fontAlgn="auto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5"/>
                </a:buClr>
                <a:buSzTx/>
                <a:buFont typeface="Arial" panose="020B0604020202020204" pitchFamily="34" charset="0"/>
                <a:buChar char="•"/>
                <a:tabLst>
                  <a:tab pos="4394200" algn="l"/>
                </a:tabLst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b-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#1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94" name="Textfield placeholder">
              <a:extLst>
                <a:ext uri="{FF2B5EF4-FFF2-40B4-BE49-F238E27FC236}">
                  <a16:creationId xmlns:a16="http://schemas.microsoft.com/office/drawing/2014/main" xmlns="" id="{7EF67A07-A4F3-2844-A7DC-63863B05DA8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3028747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3" indent="0" algn="l" defTabSz="914400" rtl="0" eaLnBrk="1" fontAlgn="auto" latinLnBrk="0" hangingPunct="1">
                <a:lnSpc>
                  <a:spcPts val="17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Leestek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cxnSp>
          <p:nvCxnSpPr>
            <p:cNvPr id="95" name="Rechte verbindingslijn 94">
              <a:extLst>
                <a:ext uri="{FF2B5EF4-FFF2-40B4-BE49-F238E27FC236}">
                  <a16:creationId xmlns:a16="http://schemas.microsoft.com/office/drawing/2014/main" xmlns="" id="{961BAE21-0070-E048-BC31-4C3FAAFE7B01}"/>
                </a:ext>
              </a:extLst>
            </p:cNvPr>
            <p:cNvCxnSpPr/>
            <p:nvPr userDrawn="1"/>
          </p:nvCxnSpPr>
          <p:spPr>
            <a:xfrm>
              <a:off x="-2959100" y="274900"/>
              <a:ext cx="2674470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96" name="Rechte verbindingslijn 95">
              <a:extLst>
                <a:ext uri="{FF2B5EF4-FFF2-40B4-BE49-F238E27FC236}">
                  <a16:creationId xmlns:a16="http://schemas.microsoft.com/office/drawing/2014/main" xmlns="" id="{995BDE2D-3BE3-A445-B6CE-5A9E8A7CFCF8}"/>
                </a:ext>
              </a:extLst>
            </p:cNvPr>
            <p:cNvCxnSpPr/>
            <p:nvPr userDrawn="1"/>
          </p:nvCxnSpPr>
          <p:spPr>
            <a:xfrm>
              <a:off x="-2959100" y="1841989"/>
              <a:ext cx="2661379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97" name="Rechte verbindingslijn 96">
              <a:extLst>
                <a:ext uri="{FF2B5EF4-FFF2-40B4-BE49-F238E27FC236}">
                  <a16:creationId xmlns:a16="http://schemas.microsoft.com/office/drawing/2014/main" xmlns="" id="{F6E33056-E89D-AE48-8C9D-8C84972DFBFE}"/>
                </a:ext>
              </a:extLst>
            </p:cNvPr>
            <p:cNvCxnSpPr/>
            <p:nvPr userDrawn="1"/>
          </p:nvCxnSpPr>
          <p:spPr>
            <a:xfrm>
              <a:off x="-2959100" y="3766662"/>
              <a:ext cx="2661379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grpSp>
          <p:nvGrpSpPr>
            <p:cNvPr id="98" name="Groep 97">
              <a:extLst>
                <a:ext uri="{FF2B5EF4-FFF2-40B4-BE49-F238E27FC236}">
                  <a16:creationId xmlns:a16="http://schemas.microsoft.com/office/drawing/2014/main" xmlns="" id="{ACFC8806-B92A-6740-A855-22AC122ACCCF}"/>
                </a:ext>
              </a:extLst>
            </p:cNvPr>
            <p:cNvGrpSpPr/>
            <p:nvPr userDrawn="1"/>
          </p:nvGrpSpPr>
          <p:grpSpPr>
            <a:xfrm>
              <a:off x="-1948476" y="816741"/>
              <a:ext cx="409108" cy="427699"/>
              <a:chOff x="-1085063" y="758027"/>
              <a:chExt cx="633799" cy="622540"/>
            </a:xfrm>
          </p:grpSpPr>
          <p:sp>
            <p:nvSpPr>
              <p:cNvPr id="146" name="Afgeronde rechthoek 145">
                <a:extLst>
                  <a:ext uri="{FF2B5EF4-FFF2-40B4-BE49-F238E27FC236}">
                    <a16:creationId xmlns:a16="http://schemas.microsoft.com/office/drawing/2014/main" xmlns="" id="{D6F15B04-D83B-9247-8AF1-1349F5E48757}"/>
                  </a:ext>
                </a:extLst>
              </p:cNvPr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F291F"/>
                  </a:solidFill>
                  <a:effectLst/>
                  <a:uLnTx/>
                  <a:uFillTx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47" name="Groep 146">
                <a:extLst>
                  <a:ext uri="{FF2B5EF4-FFF2-40B4-BE49-F238E27FC236}">
                    <a16:creationId xmlns:a16="http://schemas.microsoft.com/office/drawing/2014/main" xmlns="" id="{2EEA21D5-ABDC-5040-A57D-0EBA0532A46B}"/>
                  </a:ext>
                </a:extLst>
              </p:cNvPr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148" name="Rechthoek 147">
                  <a:extLst>
                    <a:ext uri="{FF2B5EF4-FFF2-40B4-BE49-F238E27FC236}">
                      <a16:creationId xmlns:a16="http://schemas.microsoft.com/office/drawing/2014/main" xmlns="" id="{AAA1B333-E1B6-CB4C-AA70-D81292BE7D46}"/>
                    </a:ext>
                  </a:extLst>
                </p:cNvPr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9" name="Rechthoek 148">
                  <a:extLst>
                    <a:ext uri="{FF2B5EF4-FFF2-40B4-BE49-F238E27FC236}">
                      <a16:creationId xmlns:a16="http://schemas.microsoft.com/office/drawing/2014/main" xmlns="" id="{E6FCD9FB-96EB-D54F-8E45-050888FFBDA9}"/>
                    </a:ext>
                  </a:extLst>
                </p:cNvPr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0" name="Rechthoek 149">
                  <a:extLst>
                    <a:ext uri="{FF2B5EF4-FFF2-40B4-BE49-F238E27FC236}">
                      <a16:creationId xmlns:a16="http://schemas.microsoft.com/office/drawing/2014/main" xmlns="" id="{E9647324-B5E3-CA4E-88F3-ABB0F03C5D04}"/>
                    </a:ext>
                  </a:extLst>
                </p:cNvPr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1" name="Rechthoek 150">
                  <a:extLst>
                    <a:ext uri="{FF2B5EF4-FFF2-40B4-BE49-F238E27FC236}">
                      <a16:creationId xmlns:a16="http://schemas.microsoft.com/office/drawing/2014/main" xmlns="" id="{13F27489-F1B8-0240-947C-3139EA882F6F}"/>
                    </a:ext>
                  </a:extLst>
                </p:cNvPr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2" name="Rechthoek 151">
                  <a:extLst>
                    <a:ext uri="{FF2B5EF4-FFF2-40B4-BE49-F238E27FC236}">
                      <a16:creationId xmlns:a16="http://schemas.microsoft.com/office/drawing/2014/main" xmlns="" id="{415ACC2E-EE66-8945-BFEC-695FF69EB6C1}"/>
                    </a:ext>
                  </a:extLst>
                </p:cNvPr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3" name="Rechthoek 152">
                  <a:extLst>
                    <a:ext uri="{FF2B5EF4-FFF2-40B4-BE49-F238E27FC236}">
                      <a16:creationId xmlns:a16="http://schemas.microsoft.com/office/drawing/2014/main" xmlns="" id="{86E976D8-20F9-5D45-B1E4-900DE2E042BE}"/>
                    </a:ext>
                  </a:extLst>
                </p:cNvPr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4" name="Rechthoek 153">
                  <a:extLst>
                    <a:ext uri="{FF2B5EF4-FFF2-40B4-BE49-F238E27FC236}">
                      <a16:creationId xmlns:a16="http://schemas.microsoft.com/office/drawing/2014/main" xmlns="" id="{3EA9CB49-D745-DF44-9782-66075EC8B01F}"/>
                    </a:ext>
                  </a:extLst>
                </p:cNvPr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5" name="Rechthoek 154">
                  <a:extLst>
                    <a:ext uri="{FF2B5EF4-FFF2-40B4-BE49-F238E27FC236}">
                      <a16:creationId xmlns:a16="http://schemas.microsoft.com/office/drawing/2014/main" xmlns="" id="{1D0E2DAA-C489-6447-AC6C-9C13D3F9577A}"/>
                    </a:ext>
                  </a:extLst>
                </p:cNvPr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6" name="Rechthoek 155">
                  <a:extLst>
                    <a:ext uri="{FF2B5EF4-FFF2-40B4-BE49-F238E27FC236}">
                      <a16:creationId xmlns:a16="http://schemas.microsoft.com/office/drawing/2014/main" xmlns="" id="{05B9BC16-D997-A241-9409-CF8E90971D9A}"/>
                    </a:ext>
                  </a:extLst>
                </p:cNvPr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7" name="Rechthoek 156">
                  <a:extLst>
                    <a:ext uri="{FF2B5EF4-FFF2-40B4-BE49-F238E27FC236}">
                      <a16:creationId xmlns:a16="http://schemas.microsoft.com/office/drawing/2014/main" xmlns="" id="{93578855-722A-1D4F-B5D4-49655664372E}"/>
                    </a:ext>
                  </a:extLst>
                </p:cNvPr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8" name="Vrije vorm 157">
                  <a:extLst>
                    <a:ext uri="{FF2B5EF4-FFF2-40B4-BE49-F238E27FC236}">
                      <a16:creationId xmlns:a16="http://schemas.microsoft.com/office/drawing/2014/main" xmlns="" id="{D92AB5B4-78A1-8E48-9F33-8492F9329FE7}"/>
                    </a:ext>
                  </a:extLst>
                </p:cNvPr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99" name="Groep 98">
              <a:extLst>
                <a:ext uri="{FF2B5EF4-FFF2-40B4-BE49-F238E27FC236}">
                  <a16:creationId xmlns:a16="http://schemas.microsoft.com/office/drawing/2014/main" xmlns="" id="{183A80AE-B98F-F34C-893E-A37AC782C096}"/>
                </a:ext>
              </a:extLst>
            </p:cNvPr>
            <p:cNvGrpSpPr/>
            <p:nvPr/>
          </p:nvGrpSpPr>
          <p:grpSpPr>
            <a:xfrm>
              <a:off x="-2950232" y="1207835"/>
              <a:ext cx="532929" cy="509563"/>
              <a:chOff x="-2880382" y="802341"/>
              <a:chExt cx="532929" cy="509563"/>
            </a:xfrm>
          </p:grpSpPr>
          <p:sp>
            <p:nvSpPr>
              <p:cNvPr id="124" name="Rechthoek 123">
                <a:extLst>
                  <a:ext uri="{FF2B5EF4-FFF2-40B4-BE49-F238E27FC236}">
                    <a16:creationId xmlns:a16="http://schemas.microsoft.com/office/drawing/2014/main" xmlns="" id="{741039A1-FD8F-D841-8469-EBC027413F83}"/>
                  </a:ext>
                </a:extLst>
              </p:cNvPr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pic>
            <p:nvPicPr>
              <p:cNvPr id="125" name="Picture 2">
                <a:extLst>
                  <a:ext uri="{FF2B5EF4-FFF2-40B4-BE49-F238E27FC236}">
                    <a16:creationId xmlns:a16="http://schemas.microsoft.com/office/drawing/2014/main" xmlns="" id="{4AFAE622-245A-384B-8B18-EE6E12D2E42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26" name="Picture 3">
                <a:extLst>
                  <a:ext uri="{FF2B5EF4-FFF2-40B4-BE49-F238E27FC236}">
                    <a16:creationId xmlns:a16="http://schemas.microsoft.com/office/drawing/2014/main" xmlns="" id="{23BCD66A-1BF5-6746-AD69-031E44B7196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xmlns="" id="{BF3DE850-81C3-FE4C-A4B6-1874A15A3796}"/>
                  </a:ext>
                </a:extLst>
              </p:cNvPr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xmlns="" id="{76DADB7A-5775-7543-8D28-2A0AF34A8258}"/>
                    </a:ext>
                  </a:extLst>
                </p:cNvPr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xmlns="" id="{F7AB523F-2FE6-0F44-814A-9820747C198A}"/>
                    </a:ext>
                  </a:extLst>
                </p:cNvPr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xmlns="" id="{B8845291-9B39-704A-A5CD-4566AB4DC531}"/>
                    </a:ext>
                  </a:extLst>
                </p:cNvPr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xmlns="" id="{157C6E03-7103-914D-9770-E07487E15E7E}"/>
                    </a:ext>
                  </a:extLst>
                </p:cNvPr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5" name="Rechthoek 144">
                  <a:extLst>
                    <a:ext uri="{FF2B5EF4-FFF2-40B4-BE49-F238E27FC236}">
                      <a16:creationId xmlns:a16="http://schemas.microsoft.com/office/drawing/2014/main" xmlns="" id="{E058AD43-F758-BC40-8BC5-C1337EBA820E}"/>
                    </a:ext>
                  </a:extLst>
                </p:cNvPr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xmlns="" id="{E617608A-1218-A940-8683-B5CCA33EF7EE}"/>
                  </a:ext>
                </a:extLst>
              </p:cNvPr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129" name="Groep 128">
                  <a:extLst>
                    <a:ext uri="{FF2B5EF4-FFF2-40B4-BE49-F238E27FC236}">
                      <a16:creationId xmlns:a16="http://schemas.microsoft.com/office/drawing/2014/main" xmlns="" id="{FD8B1462-4BB5-6740-B760-3DA3A5966F11}"/>
                    </a:ext>
                  </a:extLst>
                </p:cNvPr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136" name="Rechthoek 135">
                    <a:extLst>
                      <a:ext uri="{FF2B5EF4-FFF2-40B4-BE49-F238E27FC236}">
                        <a16:creationId xmlns:a16="http://schemas.microsoft.com/office/drawing/2014/main" xmlns="" id="{FE7177EA-8AAD-6047-922F-783BA8B6A069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xmlns="" id="{8A9E6041-50C3-DC47-B596-AE579A5FC7F1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xmlns="" id="{F78B9AE6-BC9B-E84E-8D47-EF8260B0DC70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39" name="Rechthoek 138">
                    <a:extLst>
                      <a:ext uri="{FF2B5EF4-FFF2-40B4-BE49-F238E27FC236}">
                        <a16:creationId xmlns:a16="http://schemas.microsoft.com/office/drawing/2014/main" xmlns="" id="{B9E0BBEC-98F7-094F-AF65-2B1A402DC90E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0" name="Rechthoek 139">
                    <a:extLst>
                      <a:ext uri="{FF2B5EF4-FFF2-40B4-BE49-F238E27FC236}">
                        <a16:creationId xmlns:a16="http://schemas.microsoft.com/office/drawing/2014/main" xmlns="" id="{CFE85484-BB84-2C4D-918E-0A52E1C72E82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</p:grpSp>
            <p:grpSp>
              <p:nvGrpSpPr>
                <p:cNvPr id="130" name="Groep 129">
                  <a:extLst>
                    <a:ext uri="{FF2B5EF4-FFF2-40B4-BE49-F238E27FC236}">
                      <a16:creationId xmlns:a16="http://schemas.microsoft.com/office/drawing/2014/main" xmlns="" id="{FDA35BE6-6015-6547-8E2F-90F521DECC3E}"/>
                    </a:ext>
                  </a:extLst>
                </p:cNvPr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131" name="Rechthoek 130">
                    <a:extLst>
                      <a:ext uri="{FF2B5EF4-FFF2-40B4-BE49-F238E27FC236}">
                        <a16:creationId xmlns:a16="http://schemas.microsoft.com/office/drawing/2014/main" xmlns="" id="{04CB6249-E903-FC42-9B6F-802EA48209D4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32" name="Rechthoek 131">
                    <a:extLst>
                      <a:ext uri="{FF2B5EF4-FFF2-40B4-BE49-F238E27FC236}">
                        <a16:creationId xmlns:a16="http://schemas.microsoft.com/office/drawing/2014/main" xmlns="" id="{0BF5EB66-FE79-FC46-8AC0-96D501D487AC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33" name="Rechthoek 132">
                    <a:extLst>
                      <a:ext uri="{FF2B5EF4-FFF2-40B4-BE49-F238E27FC236}">
                        <a16:creationId xmlns:a16="http://schemas.microsoft.com/office/drawing/2014/main" xmlns="" id="{54A6CCEB-A04E-A143-8BB1-2D891124A6D2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34" name="Rechthoek 133">
                    <a:extLst>
                      <a:ext uri="{FF2B5EF4-FFF2-40B4-BE49-F238E27FC236}">
                        <a16:creationId xmlns:a16="http://schemas.microsoft.com/office/drawing/2014/main" xmlns="" id="{60C5A579-74D5-BA47-A96F-55A765881918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35" name="Rechthoek 134">
                    <a:extLst>
                      <a:ext uri="{FF2B5EF4-FFF2-40B4-BE49-F238E27FC236}">
                        <a16:creationId xmlns:a16="http://schemas.microsoft.com/office/drawing/2014/main" xmlns="" id="{29CE088D-93B5-A44B-A21B-472229B8EF12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grpSp>
          <p:nvGrpSpPr>
            <p:cNvPr id="100" name="Groep 99">
              <a:extLst>
                <a:ext uri="{FF2B5EF4-FFF2-40B4-BE49-F238E27FC236}">
                  <a16:creationId xmlns:a16="http://schemas.microsoft.com/office/drawing/2014/main" xmlns="" id="{51E1E581-132B-8446-AE7F-A1591BC6826E}"/>
                </a:ext>
              </a:extLst>
            </p:cNvPr>
            <p:cNvGrpSpPr/>
            <p:nvPr userDrawn="1"/>
          </p:nvGrpSpPr>
          <p:grpSpPr>
            <a:xfrm>
              <a:off x="-1948476" y="1281164"/>
              <a:ext cx="413704" cy="427699"/>
              <a:chOff x="-1845083" y="758027"/>
              <a:chExt cx="633799" cy="622540"/>
            </a:xfrm>
          </p:grpSpPr>
          <p:sp>
            <p:nvSpPr>
              <p:cNvPr id="111" name="Afgeronde rechthoek 110">
                <a:extLst>
                  <a:ext uri="{FF2B5EF4-FFF2-40B4-BE49-F238E27FC236}">
                    <a16:creationId xmlns:a16="http://schemas.microsoft.com/office/drawing/2014/main" xmlns="" id="{2748BD4B-6569-DB48-A5B8-D0CEC052EF5B}"/>
                  </a:ext>
                </a:extLst>
              </p:cNvPr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F291F"/>
                  </a:solidFill>
                  <a:effectLst/>
                  <a:uLnTx/>
                  <a:uFillTx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12" name="Groep 111">
                <a:extLst>
                  <a:ext uri="{FF2B5EF4-FFF2-40B4-BE49-F238E27FC236}">
                    <a16:creationId xmlns:a16="http://schemas.microsoft.com/office/drawing/2014/main" xmlns="" id="{DCE4572F-8FD8-9C4B-B242-13E9027F7D29}"/>
                  </a:ext>
                </a:extLst>
              </p:cNvPr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xmlns="" id="{12DEB6F5-5CB1-174B-9BA3-C3F7A7848387}"/>
                    </a:ext>
                  </a:extLst>
                </p:cNvPr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14" name="Rechthoek 113">
                  <a:extLst>
                    <a:ext uri="{FF2B5EF4-FFF2-40B4-BE49-F238E27FC236}">
                      <a16:creationId xmlns:a16="http://schemas.microsoft.com/office/drawing/2014/main" xmlns="" id="{FC20E4C9-A7AB-CC4B-A4DF-EAE5DBD3764B}"/>
                    </a:ext>
                  </a:extLst>
                </p:cNvPr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15" name="Rechthoek 114">
                  <a:extLst>
                    <a:ext uri="{FF2B5EF4-FFF2-40B4-BE49-F238E27FC236}">
                      <a16:creationId xmlns:a16="http://schemas.microsoft.com/office/drawing/2014/main" xmlns="" id="{4ADFB8CD-3774-C143-AB47-25521BE91D27}"/>
                    </a:ext>
                  </a:extLst>
                </p:cNvPr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16" name="Rechthoek 115">
                  <a:extLst>
                    <a:ext uri="{FF2B5EF4-FFF2-40B4-BE49-F238E27FC236}">
                      <a16:creationId xmlns:a16="http://schemas.microsoft.com/office/drawing/2014/main" xmlns="" id="{383024E5-00B7-394D-B727-F22A176EB4B5}"/>
                    </a:ext>
                  </a:extLst>
                </p:cNvPr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xmlns="" id="{B11B7E1B-2E0C-6345-B54C-821D566F523E}"/>
                    </a:ext>
                  </a:extLst>
                </p:cNvPr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18" name="Rechthoek 117">
                  <a:extLst>
                    <a:ext uri="{FF2B5EF4-FFF2-40B4-BE49-F238E27FC236}">
                      <a16:creationId xmlns:a16="http://schemas.microsoft.com/office/drawing/2014/main" xmlns="" id="{5916084F-C581-7046-8DD4-E23C92008DE5}"/>
                    </a:ext>
                  </a:extLst>
                </p:cNvPr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19" name="Rechthoek 118">
                  <a:extLst>
                    <a:ext uri="{FF2B5EF4-FFF2-40B4-BE49-F238E27FC236}">
                      <a16:creationId xmlns:a16="http://schemas.microsoft.com/office/drawing/2014/main" xmlns="" id="{35A12998-DFC4-E54C-97B1-3F2CEB34A477}"/>
                    </a:ext>
                  </a:extLst>
                </p:cNvPr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0" name="Rechthoek 119">
                  <a:extLst>
                    <a:ext uri="{FF2B5EF4-FFF2-40B4-BE49-F238E27FC236}">
                      <a16:creationId xmlns:a16="http://schemas.microsoft.com/office/drawing/2014/main" xmlns="" id="{5EDC9351-C02A-B745-8E4D-597D6A9884A5}"/>
                    </a:ext>
                  </a:extLst>
                </p:cNvPr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xmlns="" id="{B578AB6D-8BEA-9342-87A9-5E26A40A5144}"/>
                    </a:ext>
                  </a:extLst>
                </p:cNvPr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2" name="Rechthoek 121">
                  <a:extLst>
                    <a:ext uri="{FF2B5EF4-FFF2-40B4-BE49-F238E27FC236}">
                      <a16:creationId xmlns:a16="http://schemas.microsoft.com/office/drawing/2014/main" xmlns="" id="{B3253907-D82B-B344-A257-683D363A4653}"/>
                    </a:ext>
                  </a:extLst>
                </p:cNvPr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3" name="Vrije vorm 122">
                  <a:extLst>
                    <a:ext uri="{FF2B5EF4-FFF2-40B4-BE49-F238E27FC236}">
                      <a16:creationId xmlns:a16="http://schemas.microsoft.com/office/drawing/2014/main" xmlns="" id="{FB9C7363-C1CC-E642-8F22-34023D079985}"/>
                    </a:ext>
                  </a:extLst>
                </p:cNvPr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</p:grp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xmlns="" id="{FF79019B-825B-0B4D-8A50-A6D79E910B01}"/>
                </a:ext>
              </a:extLst>
            </p:cNvPr>
            <p:cNvCxnSpPr>
              <a:stCxn id="126" idx="2"/>
              <a:endCxn id="111" idx="1"/>
            </p:cNvCxnSpPr>
            <p:nvPr userDrawn="1"/>
          </p:nvCxnSpPr>
          <p:spPr>
            <a:xfrm>
              <a:off x="-2814292" y="1441193"/>
              <a:ext cx="865816" cy="53821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headEnd type="oval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xmlns="" id="{511B7B0A-E4A9-9940-9E16-0BE81DF53532}"/>
                </a:ext>
              </a:extLst>
            </p:cNvPr>
            <p:cNvCxnSpPr>
              <a:endCxn id="146" idx="1"/>
            </p:cNvCxnSpPr>
            <p:nvPr userDrawn="1"/>
          </p:nvCxnSpPr>
          <p:spPr>
            <a:xfrm flipV="1">
              <a:off x="-2453902" y="1030591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headEnd type="oval"/>
            </a:ln>
            <a:effectLst/>
          </p:spPr>
        </p:cxnSp>
        <p:sp>
          <p:nvSpPr>
            <p:cNvPr id="103" name="Textfield placeholder">
              <a:extLst>
                <a:ext uri="{FF2B5EF4-FFF2-40B4-BE49-F238E27FC236}">
                  <a16:creationId xmlns:a16="http://schemas.microsoft.com/office/drawing/2014/main" xmlns="" id="{D2836BA0-CC9B-6F46-A927-B8D2A91A47A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341598" y="816743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iveau omhoog</a:t>
              </a:r>
            </a:p>
          </p:txBody>
        </p:sp>
        <p:sp>
          <p:nvSpPr>
            <p:cNvPr id="104" name="Textfield placeholder">
              <a:extLst>
                <a:ext uri="{FF2B5EF4-FFF2-40B4-BE49-F238E27FC236}">
                  <a16:creationId xmlns:a16="http://schemas.microsoft.com/office/drawing/2014/main" xmlns="" id="{D6A73120-9FA0-4544-AFC5-B89DD06548A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341599" y="1281164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iveau omlaag</a:t>
              </a:r>
            </a:p>
          </p:txBody>
        </p:sp>
        <p:sp>
          <p:nvSpPr>
            <p:cNvPr id="105" name="Ovaal 104">
              <a:extLst>
                <a:ext uri="{FF2B5EF4-FFF2-40B4-BE49-F238E27FC236}">
                  <a16:creationId xmlns:a16="http://schemas.microsoft.com/office/drawing/2014/main" xmlns="" id="{94101A69-7203-8344-A164-1D3A2EA7EE3B}"/>
                </a:ext>
              </a:extLst>
            </p:cNvPr>
            <p:cNvSpPr/>
            <p:nvPr userDrawn="1"/>
          </p:nvSpPr>
          <p:spPr>
            <a:xfrm>
              <a:off x="-2959433" y="338208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06" name="Textfield placeholder">
              <a:extLst>
                <a:ext uri="{FF2B5EF4-FFF2-40B4-BE49-F238E27FC236}">
                  <a16:creationId xmlns:a16="http://schemas.microsoft.com/office/drawing/2014/main" xmlns="" id="{440D0FA6-58D0-F846-A403-8614912925C8}"/>
                </a:ext>
              </a:extLst>
            </p:cNvPr>
            <p:cNvSpPr txBox="1">
              <a:spLocks/>
            </p:cNvSpPr>
            <p:nvPr/>
          </p:nvSpPr>
          <p:spPr>
            <a:xfrm>
              <a:off x="-2571950" y="3382082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3" indent="0" algn="l" defTabSz="914400" rtl="0" eaLnBrk="1" fontAlgn="auto" latinLnBrk="0" hangingPunct="1">
                <a:lnSpc>
                  <a:spcPts val="17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Kop (20 </a:t>
              </a:r>
              <a:r>
                <a:rPr kumimoji="0" lang="nl-NL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grpSp>
          <p:nvGrpSpPr>
            <p:cNvPr id="107" name="Groep 106">
              <a:extLst>
                <a:ext uri="{FF2B5EF4-FFF2-40B4-BE49-F238E27FC236}">
                  <a16:creationId xmlns:a16="http://schemas.microsoft.com/office/drawing/2014/main" xmlns="" id="{98535D4A-4B10-0C4E-BA60-29C3F3140F73}"/>
                </a:ext>
              </a:extLst>
            </p:cNvPr>
            <p:cNvGrpSpPr/>
            <p:nvPr/>
          </p:nvGrpSpPr>
          <p:grpSpPr>
            <a:xfrm>
              <a:off x="-2950232" y="816050"/>
              <a:ext cx="528695" cy="344202"/>
              <a:chOff x="-2880382" y="410556"/>
              <a:chExt cx="528695" cy="344202"/>
            </a:xfrm>
          </p:grpSpPr>
          <p:sp>
            <p:nvSpPr>
              <p:cNvPr id="109" name="Afgeronde rechthoek 108">
                <a:extLst>
                  <a:ext uri="{FF2B5EF4-FFF2-40B4-BE49-F238E27FC236}">
                    <a16:creationId xmlns:a16="http://schemas.microsoft.com/office/drawing/2014/main" xmlns="" id="{8DBAF0B3-7E0B-0847-8071-35B711567A00}"/>
                  </a:ext>
                </a:extLst>
              </p:cNvPr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sp>
            <p:nvSpPr>
              <p:cNvPr id="110" name="Vrije vorm 109">
                <a:extLst>
                  <a:ext uri="{FF2B5EF4-FFF2-40B4-BE49-F238E27FC236}">
                    <a16:creationId xmlns:a16="http://schemas.microsoft.com/office/drawing/2014/main" xmlns="" id="{C189BB2B-EB70-A84F-AFEF-5C64AFF1BE61}"/>
                  </a:ext>
                </a:extLst>
              </p:cNvPr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9525" cap="flat" cmpd="sng" algn="ctr">
                <a:solidFill>
                  <a:srgbClr val="FFFFFF">
                    <a:lumMod val="9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Start</a:t>
                </a:r>
              </a:p>
            </p:txBody>
          </p:sp>
        </p:grpSp>
        <p:sp>
          <p:nvSpPr>
            <p:cNvPr id="108" name="Tekstvak 33">
              <a:extLst>
                <a:ext uri="{FF2B5EF4-FFF2-40B4-BE49-F238E27FC236}">
                  <a16:creationId xmlns:a16="http://schemas.microsoft.com/office/drawing/2014/main" xmlns="" id="{B4FD2886-161B-6246-9208-2F69DC1DAF05}"/>
                </a:ext>
              </a:extLst>
            </p:cNvPr>
            <p:cNvSpPr txBox="1"/>
            <p:nvPr userDrawn="1"/>
          </p:nvSpPr>
          <p:spPr>
            <a:xfrm>
              <a:off x="-2959433" y="372104"/>
              <a:ext cx="2679887" cy="45339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a naar de tab </a:t>
              </a:r>
              <a:r>
                <a:rPr kumimoji="0" lang="nl-NL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tart’ </a:t>
              </a:r>
              <a:r>
                <a:rPr kumimoji="0" lang="nl-NL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en vind onderstaande knoppen onder </a:t>
              </a:r>
              <a:r>
                <a:rPr kumimoji="0" lang="nl-NL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‘Alinea’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36898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/ tekst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Tekstvak 190"/>
          <p:cNvSpPr txBox="1"/>
          <p:nvPr userDrawn="1"/>
        </p:nvSpPr>
        <p:spPr>
          <a:xfrm>
            <a:off x="-85057" y="-437946"/>
            <a:ext cx="37216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0" i="0" dirty="0">
                <a:solidFill>
                  <a:schemeClr val="accent5"/>
                </a:solidFill>
                <a:latin typeface="Arial"/>
                <a:cs typeface="Arial"/>
              </a:rPr>
              <a:t>TEKST &amp; KADERTEKST (50% - 50%)</a:t>
            </a:r>
          </a:p>
        </p:txBody>
      </p:sp>
      <p:sp>
        <p:nvSpPr>
          <p:cNvPr id="2" name="Rond diagonale hoek rechthoek 1">
            <a:extLst>
              <a:ext uri="{FF2B5EF4-FFF2-40B4-BE49-F238E27FC236}">
                <a16:creationId xmlns:a16="http://schemas.microsoft.com/office/drawing/2014/main" xmlns="" id="{7869CE60-B4E2-6549-A66B-9382F4451B32}"/>
              </a:ext>
            </a:extLst>
          </p:cNvPr>
          <p:cNvSpPr/>
          <p:nvPr userDrawn="1"/>
        </p:nvSpPr>
        <p:spPr>
          <a:xfrm>
            <a:off x="6156895" y="908722"/>
            <a:ext cx="5544616" cy="5112568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F7EB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1" name="Tijdelijke aanduiding voor voettekst 1">
            <a:extLst>
              <a:ext uri="{FF2B5EF4-FFF2-40B4-BE49-F238E27FC236}">
                <a16:creationId xmlns:a16="http://schemas.microsoft.com/office/drawing/2014/main" xmlns="" id="{585622B2-3F27-9E41-90EE-088090FDBE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958" y="6304235"/>
            <a:ext cx="112355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12" name="Tijdelijke aanduiding voor datum 2">
            <a:extLst>
              <a:ext uri="{FF2B5EF4-FFF2-40B4-BE49-F238E27FC236}">
                <a16:creationId xmlns:a16="http://schemas.microsoft.com/office/drawing/2014/main" xmlns="" id="{C4AA8D4E-F29C-174F-A379-45F148DA4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899DD7F-CDF2-244A-A960-115B02311404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14" name="Tijdelijke aanduiding voor tekst 2">
            <a:extLst>
              <a:ext uri="{FF2B5EF4-FFF2-40B4-BE49-F238E27FC236}">
                <a16:creationId xmlns:a16="http://schemas.microsoft.com/office/drawing/2014/main" xmlns="" id="{AD97F1D8-5A51-974D-B25B-CB556CCD54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5958" y="1994447"/>
            <a:ext cx="5474913" cy="4026842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</a:lstStyle>
          <a:p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Eerste niveau</a:t>
            </a:r>
          </a:p>
          <a:p>
            <a:pPr lvl="2"/>
            <a:r>
              <a:rPr lang="nl-NL" dirty="0"/>
              <a:t>Tweede niveau</a:t>
            </a:r>
          </a:p>
        </p:txBody>
      </p:sp>
      <p:sp>
        <p:nvSpPr>
          <p:cNvPr id="15" name="Tijdelijke aanduiding voor tekst 2">
            <a:extLst>
              <a:ext uri="{FF2B5EF4-FFF2-40B4-BE49-F238E27FC236}">
                <a16:creationId xmlns:a16="http://schemas.microsoft.com/office/drawing/2014/main" xmlns="" id="{034E9998-0083-7A4E-B32E-CDD7F99CA3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42622" y="1981311"/>
            <a:ext cx="4970857" cy="3751945"/>
          </a:xfrm>
          <a:prstGeom prst="rect">
            <a:avLst/>
          </a:prstGeom>
        </p:spPr>
        <p:txBody>
          <a:bodyPr/>
          <a:lstStyle>
            <a:lvl1pPr marL="269875" indent="-269875">
              <a:buClr>
                <a:srgbClr val="677240"/>
              </a:buClr>
              <a:buFont typeface="Helvetica" pitchFamily="2" charset="0"/>
              <a:buChar char="●"/>
              <a:defRPr>
                <a:solidFill>
                  <a:schemeClr val="accent5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</a:lstStyle>
          <a:p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Eerste niveau</a:t>
            </a:r>
          </a:p>
          <a:p>
            <a:pPr lvl="2"/>
            <a:r>
              <a:rPr lang="nl-NL" dirty="0"/>
              <a:t>Tweede niveau</a:t>
            </a:r>
          </a:p>
        </p:txBody>
      </p:sp>
      <p:sp>
        <p:nvSpPr>
          <p:cNvPr id="17" name="Tijdelijke aanduiding voor tekst 3">
            <a:extLst>
              <a:ext uri="{FF2B5EF4-FFF2-40B4-BE49-F238E27FC236}">
                <a16:creationId xmlns:a16="http://schemas.microsoft.com/office/drawing/2014/main" xmlns="" id="{C7C240CE-1E28-4B40-84C6-7D63733521E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42622" y="921328"/>
            <a:ext cx="4968552" cy="77948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Titelstijl van model bewerken</a:t>
            </a:r>
          </a:p>
        </p:txBody>
      </p:sp>
      <p:sp>
        <p:nvSpPr>
          <p:cNvPr id="54" name="Rectangle 2">
            <a:extLst>
              <a:ext uri="{FF2B5EF4-FFF2-40B4-BE49-F238E27FC236}">
                <a16:creationId xmlns:a16="http://schemas.microsoft.com/office/drawing/2014/main" xmlns="" id="{985D1B44-B8E9-9A44-AC5D-8B971922862A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65957" y="908722"/>
            <a:ext cx="5474913" cy="864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nl-NL" dirty="0"/>
              <a:t>Titelstijl van model bewerken</a:t>
            </a:r>
          </a:p>
        </p:txBody>
      </p:sp>
      <p:grpSp>
        <p:nvGrpSpPr>
          <p:cNvPr id="91" name="Instructie Tekst">
            <a:extLst>
              <a:ext uri="{FF2B5EF4-FFF2-40B4-BE49-F238E27FC236}">
                <a16:creationId xmlns:a16="http://schemas.microsoft.com/office/drawing/2014/main" xmlns="" id="{171A56F0-FBF0-7044-AC50-83465D92851F}"/>
              </a:ext>
            </a:extLst>
          </p:cNvPr>
          <p:cNvGrpSpPr/>
          <p:nvPr userDrawn="1"/>
        </p:nvGrpSpPr>
        <p:grpSpPr>
          <a:xfrm>
            <a:off x="-2916113" y="0"/>
            <a:ext cx="2688057" cy="3772106"/>
            <a:chOff x="-2959433" y="-5444"/>
            <a:chExt cx="2688057" cy="3772106"/>
          </a:xfrm>
        </p:grpSpPr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xmlns="" id="{B80069C5-2416-A24E-8973-6991F6835E30}"/>
                </a:ext>
              </a:extLst>
            </p:cNvPr>
            <p:cNvSpPr/>
            <p:nvPr userDrawn="1"/>
          </p:nvSpPr>
          <p:spPr>
            <a:xfrm>
              <a:off x="-2959433" y="-5444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TEKST NIVEAUS</a:t>
              </a:r>
            </a:p>
          </p:txBody>
        </p:sp>
        <p:sp>
          <p:nvSpPr>
            <p:cNvPr id="93" name="Textfield placeholder">
              <a:extLst>
                <a:ext uri="{FF2B5EF4-FFF2-40B4-BE49-F238E27FC236}">
                  <a16:creationId xmlns:a16="http://schemas.microsoft.com/office/drawing/2014/main" xmlns="" id="{4F6F37CF-E0B2-9440-85B3-28D91C3BA97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87337" y="2675411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542925" marR="0" lvl="0" indent="-180975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5"/>
                </a:buClr>
                <a:buSzPct val="80000"/>
                <a:buFont typeface="Arial" panose="020B0604020202020204" pitchFamily="34" charset="0"/>
                <a:buChar char="-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b-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#2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94" name="Ovaal 93">
              <a:extLst>
                <a:ext uri="{FF2B5EF4-FFF2-40B4-BE49-F238E27FC236}">
                  <a16:creationId xmlns:a16="http://schemas.microsoft.com/office/drawing/2014/main" xmlns="" id="{8481DF6B-20AF-3D4E-9E63-7D8B9847E308}"/>
                </a:ext>
              </a:extLst>
            </p:cNvPr>
            <p:cNvSpPr/>
            <p:nvPr userDrawn="1"/>
          </p:nvSpPr>
          <p:spPr>
            <a:xfrm>
              <a:off x="-2959433" y="196874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95" name="Ovaal 94">
              <a:extLst>
                <a:ext uri="{FF2B5EF4-FFF2-40B4-BE49-F238E27FC236}">
                  <a16:creationId xmlns:a16="http://schemas.microsoft.com/office/drawing/2014/main" xmlns="" id="{CBCA58CA-B677-4E4A-977C-B47C3E057F32}"/>
                </a:ext>
              </a:extLst>
            </p:cNvPr>
            <p:cNvSpPr/>
            <p:nvPr userDrawn="1"/>
          </p:nvSpPr>
          <p:spPr>
            <a:xfrm>
              <a:off x="-2959433" y="2322077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96" name="Ovaal 95">
              <a:extLst>
                <a:ext uri="{FF2B5EF4-FFF2-40B4-BE49-F238E27FC236}">
                  <a16:creationId xmlns:a16="http://schemas.microsoft.com/office/drawing/2014/main" xmlns="" id="{F9810BAD-2412-124A-83BD-0D58DE4FF7AD}"/>
                </a:ext>
              </a:extLst>
            </p:cNvPr>
            <p:cNvSpPr/>
            <p:nvPr userDrawn="1"/>
          </p:nvSpPr>
          <p:spPr>
            <a:xfrm>
              <a:off x="-2959433" y="267541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xmlns="" id="{7E489FF8-8A5A-5141-9BF6-BC3DB2C884FD}"/>
                </a:ext>
              </a:extLst>
            </p:cNvPr>
            <p:cNvSpPr/>
            <p:nvPr userDrawn="1"/>
          </p:nvSpPr>
          <p:spPr>
            <a:xfrm>
              <a:off x="-2959433" y="3028747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98" name="Textfield placeholder">
              <a:extLst>
                <a:ext uri="{FF2B5EF4-FFF2-40B4-BE49-F238E27FC236}">
                  <a16:creationId xmlns:a16="http://schemas.microsoft.com/office/drawing/2014/main" xmlns="" id="{65ABFD83-DDD1-734E-AD64-BAFCDC06F7F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1966925"/>
              <a:ext cx="2163709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marR="0" lvl="1" indent="-2286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Helvetica" pitchFamily="2" charset="0"/>
                <a:buChar char="●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99" name="Textfield placeholder">
              <a:extLst>
                <a:ext uri="{FF2B5EF4-FFF2-40B4-BE49-F238E27FC236}">
                  <a16:creationId xmlns:a16="http://schemas.microsoft.com/office/drawing/2014/main" xmlns="" id="{181DEE70-CDC8-E945-BDD2-596152250D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2322077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marR="0" lvl="2" indent="-174625" algn="l" defTabSz="914400" rtl="0" eaLnBrk="1" fontAlgn="auto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5"/>
                </a:buClr>
                <a:buSzTx/>
                <a:buFont typeface="Arial" panose="020B0604020202020204" pitchFamily="34" charset="0"/>
                <a:buChar char="•"/>
                <a:tabLst>
                  <a:tab pos="4394200" algn="l"/>
                </a:tabLst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b-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#1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100" name="Textfield placeholder">
              <a:extLst>
                <a:ext uri="{FF2B5EF4-FFF2-40B4-BE49-F238E27FC236}">
                  <a16:creationId xmlns:a16="http://schemas.microsoft.com/office/drawing/2014/main" xmlns="" id="{A045EE03-CE5C-D345-9F1B-33A393B0C3B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3028747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3" indent="0" algn="l" defTabSz="914400" rtl="0" eaLnBrk="1" fontAlgn="auto" latinLnBrk="0" hangingPunct="1">
                <a:lnSpc>
                  <a:spcPts val="17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Leestek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xmlns="" id="{BEAAD855-A927-5249-9C7D-2E301F32E482}"/>
                </a:ext>
              </a:extLst>
            </p:cNvPr>
            <p:cNvCxnSpPr/>
            <p:nvPr userDrawn="1"/>
          </p:nvCxnSpPr>
          <p:spPr>
            <a:xfrm>
              <a:off x="-2959100" y="274900"/>
              <a:ext cx="2674470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xmlns="" id="{E1EE78D5-355A-0042-A9AD-F4FE09BC5EAC}"/>
                </a:ext>
              </a:extLst>
            </p:cNvPr>
            <p:cNvCxnSpPr/>
            <p:nvPr userDrawn="1"/>
          </p:nvCxnSpPr>
          <p:spPr>
            <a:xfrm>
              <a:off x="-2959100" y="1841989"/>
              <a:ext cx="2661379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103" name="Rechte verbindingslijn 102">
              <a:extLst>
                <a:ext uri="{FF2B5EF4-FFF2-40B4-BE49-F238E27FC236}">
                  <a16:creationId xmlns:a16="http://schemas.microsoft.com/office/drawing/2014/main" xmlns="" id="{7FF1851A-723C-DD4B-BC7C-87D57F0A8E8F}"/>
                </a:ext>
              </a:extLst>
            </p:cNvPr>
            <p:cNvCxnSpPr/>
            <p:nvPr userDrawn="1"/>
          </p:nvCxnSpPr>
          <p:spPr>
            <a:xfrm>
              <a:off x="-2959100" y="3766662"/>
              <a:ext cx="2661379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xmlns="" id="{A4DA805A-535E-2B44-B1BA-2B995B037172}"/>
                </a:ext>
              </a:extLst>
            </p:cNvPr>
            <p:cNvGrpSpPr/>
            <p:nvPr userDrawn="1"/>
          </p:nvGrpSpPr>
          <p:grpSpPr>
            <a:xfrm>
              <a:off x="-1948476" y="816741"/>
              <a:ext cx="409108" cy="427699"/>
              <a:chOff x="-1085063" y="758027"/>
              <a:chExt cx="633799" cy="622540"/>
            </a:xfrm>
          </p:grpSpPr>
          <p:sp>
            <p:nvSpPr>
              <p:cNvPr id="152" name="Afgeronde rechthoek 151">
                <a:extLst>
                  <a:ext uri="{FF2B5EF4-FFF2-40B4-BE49-F238E27FC236}">
                    <a16:creationId xmlns:a16="http://schemas.microsoft.com/office/drawing/2014/main" xmlns="" id="{D366DF6E-A7C3-5F4C-AE97-847505AFC9B7}"/>
                  </a:ext>
                </a:extLst>
              </p:cNvPr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F291F"/>
                  </a:solidFill>
                  <a:effectLst/>
                  <a:uLnTx/>
                  <a:uFillTx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53" name="Groep 152">
                <a:extLst>
                  <a:ext uri="{FF2B5EF4-FFF2-40B4-BE49-F238E27FC236}">
                    <a16:creationId xmlns:a16="http://schemas.microsoft.com/office/drawing/2014/main" xmlns="" id="{BE2C91A8-735A-9A4D-9551-F66590F5C4DE}"/>
                  </a:ext>
                </a:extLst>
              </p:cNvPr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154" name="Rechthoek 153">
                  <a:extLst>
                    <a:ext uri="{FF2B5EF4-FFF2-40B4-BE49-F238E27FC236}">
                      <a16:creationId xmlns:a16="http://schemas.microsoft.com/office/drawing/2014/main" xmlns="" id="{450EC30E-C40F-0C4C-858F-D324FCE9C8B5}"/>
                    </a:ext>
                  </a:extLst>
                </p:cNvPr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5" name="Rechthoek 154">
                  <a:extLst>
                    <a:ext uri="{FF2B5EF4-FFF2-40B4-BE49-F238E27FC236}">
                      <a16:creationId xmlns:a16="http://schemas.microsoft.com/office/drawing/2014/main" xmlns="" id="{5EC5200E-9295-7644-9825-AE7DC758AB5A}"/>
                    </a:ext>
                  </a:extLst>
                </p:cNvPr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6" name="Rechthoek 155">
                  <a:extLst>
                    <a:ext uri="{FF2B5EF4-FFF2-40B4-BE49-F238E27FC236}">
                      <a16:creationId xmlns:a16="http://schemas.microsoft.com/office/drawing/2014/main" xmlns="" id="{51A9DE5C-E41C-A844-B64B-FC575E0C2D94}"/>
                    </a:ext>
                  </a:extLst>
                </p:cNvPr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7" name="Rechthoek 156">
                  <a:extLst>
                    <a:ext uri="{FF2B5EF4-FFF2-40B4-BE49-F238E27FC236}">
                      <a16:creationId xmlns:a16="http://schemas.microsoft.com/office/drawing/2014/main" xmlns="" id="{4B8826DB-3BD5-CB4A-ADC1-4254D576D621}"/>
                    </a:ext>
                  </a:extLst>
                </p:cNvPr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8" name="Rechthoek 157">
                  <a:extLst>
                    <a:ext uri="{FF2B5EF4-FFF2-40B4-BE49-F238E27FC236}">
                      <a16:creationId xmlns:a16="http://schemas.microsoft.com/office/drawing/2014/main" xmlns="" id="{7C32694D-4B4E-1A45-9501-2452782163AE}"/>
                    </a:ext>
                  </a:extLst>
                </p:cNvPr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9" name="Rechthoek 158">
                  <a:extLst>
                    <a:ext uri="{FF2B5EF4-FFF2-40B4-BE49-F238E27FC236}">
                      <a16:creationId xmlns:a16="http://schemas.microsoft.com/office/drawing/2014/main" xmlns="" id="{90B71A50-C334-094E-9CD7-15B5FA1BF011}"/>
                    </a:ext>
                  </a:extLst>
                </p:cNvPr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0" name="Rechthoek 159">
                  <a:extLst>
                    <a:ext uri="{FF2B5EF4-FFF2-40B4-BE49-F238E27FC236}">
                      <a16:creationId xmlns:a16="http://schemas.microsoft.com/office/drawing/2014/main" xmlns="" id="{1DCF61BB-88DA-0F46-BC1E-504B7728B218}"/>
                    </a:ext>
                  </a:extLst>
                </p:cNvPr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1" name="Rechthoek 160">
                  <a:extLst>
                    <a:ext uri="{FF2B5EF4-FFF2-40B4-BE49-F238E27FC236}">
                      <a16:creationId xmlns:a16="http://schemas.microsoft.com/office/drawing/2014/main" xmlns="" id="{94908AEE-4124-1B42-AE3D-256305F3177F}"/>
                    </a:ext>
                  </a:extLst>
                </p:cNvPr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2" name="Rechthoek 161">
                  <a:extLst>
                    <a:ext uri="{FF2B5EF4-FFF2-40B4-BE49-F238E27FC236}">
                      <a16:creationId xmlns:a16="http://schemas.microsoft.com/office/drawing/2014/main" xmlns="" id="{0D60585E-A5FD-CA47-867F-78F771CE8DFE}"/>
                    </a:ext>
                  </a:extLst>
                </p:cNvPr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3" name="Rechthoek 162">
                  <a:extLst>
                    <a:ext uri="{FF2B5EF4-FFF2-40B4-BE49-F238E27FC236}">
                      <a16:creationId xmlns:a16="http://schemas.microsoft.com/office/drawing/2014/main" xmlns="" id="{86E24854-F8B1-5D41-B7CA-6B36ECF4CF79}"/>
                    </a:ext>
                  </a:extLst>
                </p:cNvPr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4" name="Vrije vorm 163">
                  <a:extLst>
                    <a:ext uri="{FF2B5EF4-FFF2-40B4-BE49-F238E27FC236}">
                      <a16:creationId xmlns:a16="http://schemas.microsoft.com/office/drawing/2014/main" xmlns="" id="{73B9999A-07B1-2645-A5E9-7641726D9E8E}"/>
                    </a:ext>
                  </a:extLst>
                </p:cNvPr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xmlns="" id="{68B884D1-615E-8544-8B5B-DE8D802681A7}"/>
                </a:ext>
              </a:extLst>
            </p:cNvPr>
            <p:cNvGrpSpPr/>
            <p:nvPr/>
          </p:nvGrpSpPr>
          <p:grpSpPr>
            <a:xfrm>
              <a:off x="-2950232" y="1207835"/>
              <a:ext cx="532929" cy="509563"/>
              <a:chOff x="-2880382" y="802341"/>
              <a:chExt cx="532929" cy="509563"/>
            </a:xfrm>
          </p:grpSpPr>
          <p:sp>
            <p:nvSpPr>
              <p:cNvPr id="130" name="Rechthoek 129">
                <a:extLst>
                  <a:ext uri="{FF2B5EF4-FFF2-40B4-BE49-F238E27FC236}">
                    <a16:creationId xmlns:a16="http://schemas.microsoft.com/office/drawing/2014/main" xmlns="" id="{71B45455-3F51-C945-BBA2-1BA833A8B8A9}"/>
                  </a:ext>
                </a:extLst>
              </p:cNvPr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pic>
            <p:nvPicPr>
              <p:cNvPr id="131" name="Picture 2">
                <a:extLst>
                  <a:ext uri="{FF2B5EF4-FFF2-40B4-BE49-F238E27FC236}">
                    <a16:creationId xmlns:a16="http://schemas.microsoft.com/office/drawing/2014/main" xmlns="" id="{46FD9849-4FEF-DF42-966D-0CE0B4B1F8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32" name="Picture 3">
                <a:extLst>
                  <a:ext uri="{FF2B5EF4-FFF2-40B4-BE49-F238E27FC236}">
                    <a16:creationId xmlns:a16="http://schemas.microsoft.com/office/drawing/2014/main" xmlns="" id="{50A2DF4D-4AF3-D646-A35F-78F45B87265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33" name="Groep 132">
                <a:extLst>
                  <a:ext uri="{FF2B5EF4-FFF2-40B4-BE49-F238E27FC236}">
                    <a16:creationId xmlns:a16="http://schemas.microsoft.com/office/drawing/2014/main" xmlns="" id="{DC7058AD-59E6-7A4E-8B90-7BFC48FC3321}"/>
                  </a:ext>
                </a:extLst>
              </p:cNvPr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147" name="Rechthoek 146">
                  <a:extLst>
                    <a:ext uri="{FF2B5EF4-FFF2-40B4-BE49-F238E27FC236}">
                      <a16:creationId xmlns:a16="http://schemas.microsoft.com/office/drawing/2014/main" xmlns="" id="{2D460BF8-E329-0E49-9670-9CE5C2ACB9F5}"/>
                    </a:ext>
                  </a:extLst>
                </p:cNvPr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8" name="Rechthoek 147">
                  <a:extLst>
                    <a:ext uri="{FF2B5EF4-FFF2-40B4-BE49-F238E27FC236}">
                      <a16:creationId xmlns:a16="http://schemas.microsoft.com/office/drawing/2014/main" xmlns="" id="{C232F53C-4323-9C40-A2E4-7BD8B890867F}"/>
                    </a:ext>
                  </a:extLst>
                </p:cNvPr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9" name="Rechthoek 148">
                  <a:extLst>
                    <a:ext uri="{FF2B5EF4-FFF2-40B4-BE49-F238E27FC236}">
                      <a16:creationId xmlns:a16="http://schemas.microsoft.com/office/drawing/2014/main" xmlns="" id="{1994C16E-631E-AA4B-80D2-5795FC057361}"/>
                    </a:ext>
                  </a:extLst>
                </p:cNvPr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0" name="Rechthoek 149">
                  <a:extLst>
                    <a:ext uri="{FF2B5EF4-FFF2-40B4-BE49-F238E27FC236}">
                      <a16:creationId xmlns:a16="http://schemas.microsoft.com/office/drawing/2014/main" xmlns="" id="{0D27B078-AECB-FD47-8115-4DD77A91E14A}"/>
                    </a:ext>
                  </a:extLst>
                </p:cNvPr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1" name="Rechthoek 150">
                  <a:extLst>
                    <a:ext uri="{FF2B5EF4-FFF2-40B4-BE49-F238E27FC236}">
                      <a16:creationId xmlns:a16="http://schemas.microsoft.com/office/drawing/2014/main" xmlns="" id="{F580FA60-71CD-1E4C-BC42-A45B48A775B2}"/>
                    </a:ext>
                  </a:extLst>
                </p:cNvPr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34" name="Groep 133">
                <a:extLst>
                  <a:ext uri="{FF2B5EF4-FFF2-40B4-BE49-F238E27FC236}">
                    <a16:creationId xmlns:a16="http://schemas.microsoft.com/office/drawing/2014/main" xmlns="" id="{4D6F803B-EDC7-8C46-8CEC-1D7AC5D379F4}"/>
                  </a:ext>
                </a:extLst>
              </p:cNvPr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135" name="Groep 134">
                  <a:extLst>
                    <a:ext uri="{FF2B5EF4-FFF2-40B4-BE49-F238E27FC236}">
                      <a16:creationId xmlns:a16="http://schemas.microsoft.com/office/drawing/2014/main" xmlns="" id="{B4C267AE-A1A7-3C49-9EE6-C007F2AC1367}"/>
                    </a:ext>
                  </a:extLst>
                </p:cNvPr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142" name="Rechthoek 141">
                    <a:extLst>
                      <a:ext uri="{FF2B5EF4-FFF2-40B4-BE49-F238E27FC236}">
                        <a16:creationId xmlns:a16="http://schemas.microsoft.com/office/drawing/2014/main" xmlns="" id="{C93FAA60-E476-2F4E-9230-65F88FEFA280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3" name="Rechthoek 142">
                    <a:extLst>
                      <a:ext uri="{FF2B5EF4-FFF2-40B4-BE49-F238E27FC236}">
                        <a16:creationId xmlns:a16="http://schemas.microsoft.com/office/drawing/2014/main" xmlns="" id="{12E04813-A892-0F4E-86E8-AE2623904DE3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4" name="Rechthoek 143">
                    <a:extLst>
                      <a:ext uri="{FF2B5EF4-FFF2-40B4-BE49-F238E27FC236}">
                        <a16:creationId xmlns:a16="http://schemas.microsoft.com/office/drawing/2014/main" xmlns="" id="{DEBDC455-D477-0643-952D-C874E8B00209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5" name="Rechthoek 144">
                    <a:extLst>
                      <a:ext uri="{FF2B5EF4-FFF2-40B4-BE49-F238E27FC236}">
                        <a16:creationId xmlns:a16="http://schemas.microsoft.com/office/drawing/2014/main" xmlns="" id="{BFE22446-F64D-004A-90E8-788C8229C389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6" name="Rechthoek 145">
                    <a:extLst>
                      <a:ext uri="{FF2B5EF4-FFF2-40B4-BE49-F238E27FC236}">
                        <a16:creationId xmlns:a16="http://schemas.microsoft.com/office/drawing/2014/main" xmlns="" id="{89A8E367-3A0F-9842-8E97-5F4CEFD6262C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</p:grpSp>
            <p:grpSp>
              <p:nvGrpSpPr>
                <p:cNvPr id="136" name="Groep 135">
                  <a:extLst>
                    <a:ext uri="{FF2B5EF4-FFF2-40B4-BE49-F238E27FC236}">
                      <a16:creationId xmlns:a16="http://schemas.microsoft.com/office/drawing/2014/main" xmlns="" id="{4B322E63-FDE2-1645-ABAD-69F7A01DCC31}"/>
                    </a:ext>
                  </a:extLst>
                </p:cNvPr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137" name="Rechthoek 136">
                    <a:extLst>
                      <a:ext uri="{FF2B5EF4-FFF2-40B4-BE49-F238E27FC236}">
                        <a16:creationId xmlns:a16="http://schemas.microsoft.com/office/drawing/2014/main" xmlns="" id="{64DD46C6-4A77-FB40-B0D2-411A5D6A4064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38" name="Rechthoek 137">
                    <a:extLst>
                      <a:ext uri="{FF2B5EF4-FFF2-40B4-BE49-F238E27FC236}">
                        <a16:creationId xmlns:a16="http://schemas.microsoft.com/office/drawing/2014/main" xmlns="" id="{6A9EAB15-207B-EA4B-8759-B3478BC80BB1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39" name="Rechthoek 138">
                    <a:extLst>
                      <a:ext uri="{FF2B5EF4-FFF2-40B4-BE49-F238E27FC236}">
                        <a16:creationId xmlns:a16="http://schemas.microsoft.com/office/drawing/2014/main" xmlns="" id="{095D994B-ACF2-4146-8A33-7F2645AD5864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0" name="Rechthoek 139">
                    <a:extLst>
                      <a:ext uri="{FF2B5EF4-FFF2-40B4-BE49-F238E27FC236}">
                        <a16:creationId xmlns:a16="http://schemas.microsoft.com/office/drawing/2014/main" xmlns="" id="{A8CAE8E5-638E-D94E-9E84-4DA0CDA00728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1" name="Rechthoek 140">
                    <a:extLst>
                      <a:ext uri="{FF2B5EF4-FFF2-40B4-BE49-F238E27FC236}">
                        <a16:creationId xmlns:a16="http://schemas.microsoft.com/office/drawing/2014/main" xmlns="" id="{3A1D4346-AFEC-DC40-AD25-2F10042D4695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xmlns="" id="{725B6942-FA17-F542-A7DF-09F97DF4C32C}"/>
                </a:ext>
              </a:extLst>
            </p:cNvPr>
            <p:cNvGrpSpPr/>
            <p:nvPr userDrawn="1"/>
          </p:nvGrpSpPr>
          <p:grpSpPr>
            <a:xfrm>
              <a:off x="-1948476" y="1281164"/>
              <a:ext cx="413704" cy="427699"/>
              <a:chOff x="-1845083" y="758027"/>
              <a:chExt cx="633799" cy="622540"/>
            </a:xfrm>
          </p:grpSpPr>
          <p:sp>
            <p:nvSpPr>
              <p:cNvPr id="117" name="Afgeronde rechthoek 116">
                <a:extLst>
                  <a:ext uri="{FF2B5EF4-FFF2-40B4-BE49-F238E27FC236}">
                    <a16:creationId xmlns:a16="http://schemas.microsoft.com/office/drawing/2014/main" xmlns="" id="{75B34CCA-E80F-D84A-ADDA-05BB2D276E55}"/>
                  </a:ext>
                </a:extLst>
              </p:cNvPr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F291F"/>
                  </a:solidFill>
                  <a:effectLst/>
                  <a:uLnTx/>
                  <a:uFillTx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18" name="Groep 117">
                <a:extLst>
                  <a:ext uri="{FF2B5EF4-FFF2-40B4-BE49-F238E27FC236}">
                    <a16:creationId xmlns:a16="http://schemas.microsoft.com/office/drawing/2014/main" xmlns="" id="{2478391A-B7E2-794D-8D41-F2B8A225BBE3}"/>
                  </a:ext>
                </a:extLst>
              </p:cNvPr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119" name="Rechthoek 118">
                  <a:extLst>
                    <a:ext uri="{FF2B5EF4-FFF2-40B4-BE49-F238E27FC236}">
                      <a16:creationId xmlns:a16="http://schemas.microsoft.com/office/drawing/2014/main" xmlns="" id="{9FEF385C-8A66-4D4F-8FAA-A848E349E4F0}"/>
                    </a:ext>
                  </a:extLst>
                </p:cNvPr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0" name="Rechthoek 119">
                  <a:extLst>
                    <a:ext uri="{FF2B5EF4-FFF2-40B4-BE49-F238E27FC236}">
                      <a16:creationId xmlns:a16="http://schemas.microsoft.com/office/drawing/2014/main" xmlns="" id="{06820F58-3B43-224B-ADFB-D925F4D6A05F}"/>
                    </a:ext>
                  </a:extLst>
                </p:cNvPr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xmlns="" id="{DABC6E40-1C5A-C248-A855-0B677D1885DB}"/>
                    </a:ext>
                  </a:extLst>
                </p:cNvPr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2" name="Rechthoek 121">
                  <a:extLst>
                    <a:ext uri="{FF2B5EF4-FFF2-40B4-BE49-F238E27FC236}">
                      <a16:creationId xmlns:a16="http://schemas.microsoft.com/office/drawing/2014/main" xmlns="" id="{61B16148-502D-1B46-BB8B-D927138E15A2}"/>
                    </a:ext>
                  </a:extLst>
                </p:cNvPr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3" name="Rechthoek 122">
                  <a:extLst>
                    <a:ext uri="{FF2B5EF4-FFF2-40B4-BE49-F238E27FC236}">
                      <a16:creationId xmlns:a16="http://schemas.microsoft.com/office/drawing/2014/main" xmlns="" id="{DA88FA83-D128-C84B-A6E3-384AB96230BC}"/>
                    </a:ext>
                  </a:extLst>
                </p:cNvPr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4" name="Rechthoek 123">
                  <a:extLst>
                    <a:ext uri="{FF2B5EF4-FFF2-40B4-BE49-F238E27FC236}">
                      <a16:creationId xmlns:a16="http://schemas.microsoft.com/office/drawing/2014/main" xmlns="" id="{16BDB2BF-FC4B-F142-B7BD-1D6C515BCC99}"/>
                    </a:ext>
                  </a:extLst>
                </p:cNvPr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5" name="Rechthoek 124">
                  <a:extLst>
                    <a:ext uri="{FF2B5EF4-FFF2-40B4-BE49-F238E27FC236}">
                      <a16:creationId xmlns:a16="http://schemas.microsoft.com/office/drawing/2014/main" xmlns="" id="{F8BF02D1-08B3-0D45-8550-AA8D6C372BD2}"/>
                    </a:ext>
                  </a:extLst>
                </p:cNvPr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6" name="Rechthoek 125">
                  <a:extLst>
                    <a:ext uri="{FF2B5EF4-FFF2-40B4-BE49-F238E27FC236}">
                      <a16:creationId xmlns:a16="http://schemas.microsoft.com/office/drawing/2014/main" xmlns="" id="{74E7A4BD-926F-0F4C-999D-094C1F730F50}"/>
                    </a:ext>
                  </a:extLst>
                </p:cNvPr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7" name="Rechthoek 126">
                  <a:extLst>
                    <a:ext uri="{FF2B5EF4-FFF2-40B4-BE49-F238E27FC236}">
                      <a16:creationId xmlns:a16="http://schemas.microsoft.com/office/drawing/2014/main" xmlns="" id="{ADA7481B-3846-D344-A939-02E5D22665E2}"/>
                    </a:ext>
                  </a:extLst>
                </p:cNvPr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8" name="Rechthoek 127">
                  <a:extLst>
                    <a:ext uri="{FF2B5EF4-FFF2-40B4-BE49-F238E27FC236}">
                      <a16:creationId xmlns:a16="http://schemas.microsoft.com/office/drawing/2014/main" xmlns="" id="{DED7D421-09DE-8346-B4B7-67E599BAE400}"/>
                    </a:ext>
                  </a:extLst>
                </p:cNvPr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9" name="Vrije vorm 128">
                  <a:extLst>
                    <a:ext uri="{FF2B5EF4-FFF2-40B4-BE49-F238E27FC236}">
                      <a16:creationId xmlns:a16="http://schemas.microsoft.com/office/drawing/2014/main" xmlns="" id="{726AE8EC-DB93-374F-9D96-3DAA25E4BAA1}"/>
                    </a:ext>
                  </a:extLst>
                </p:cNvPr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xmlns="" id="{A8FC83F3-00C5-674F-8E41-9231D2636EC6}"/>
                </a:ext>
              </a:extLst>
            </p:cNvPr>
            <p:cNvCxnSpPr>
              <a:stCxn id="132" idx="2"/>
              <a:endCxn id="117" idx="1"/>
            </p:cNvCxnSpPr>
            <p:nvPr userDrawn="1"/>
          </p:nvCxnSpPr>
          <p:spPr>
            <a:xfrm>
              <a:off x="-2814292" y="1441193"/>
              <a:ext cx="865816" cy="53821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headEnd type="oval"/>
            </a:ln>
            <a:effectLst/>
          </p:spPr>
        </p:cxn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xmlns="" id="{CCE03003-C3D3-8948-A34C-C03DD05E4FB2}"/>
                </a:ext>
              </a:extLst>
            </p:cNvPr>
            <p:cNvCxnSpPr>
              <a:endCxn id="152" idx="1"/>
            </p:cNvCxnSpPr>
            <p:nvPr userDrawn="1"/>
          </p:nvCxnSpPr>
          <p:spPr>
            <a:xfrm flipV="1">
              <a:off x="-2453902" y="1030591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headEnd type="oval"/>
            </a:ln>
            <a:effectLst/>
          </p:spPr>
        </p:cxnSp>
        <p:sp>
          <p:nvSpPr>
            <p:cNvPr id="109" name="Textfield placeholder">
              <a:extLst>
                <a:ext uri="{FF2B5EF4-FFF2-40B4-BE49-F238E27FC236}">
                  <a16:creationId xmlns:a16="http://schemas.microsoft.com/office/drawing/2014/main" xmlns="" id="{9B46B3A9-2DE8-7844-8CD0-4E57CC794A1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341598" y="816743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iveau omhoog</a:t>
              </a:r>
            </a:p>
          </p:txBody>
        </p:sp>
        <p:sp>
          <p:nvSpPr>
            <p:cNvPr id="110" name="Textfield placeholder">
              <a:extLst>
                <a:ext uri="{FF2B5EF4-FFF2-40B4-BE49-F238E27FC236}">
                  <a16:creationId xmlns:a16="http://schemas.microsoft.com/office/drawing/2014/main" xmlns="" id="{9F33B146-306B-FF49-841B-A3E6AA10ABA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341599" y="1281164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iveau omlaag</a:t>
              </a:r>
            </a:p>
          </p:txBody>
        </p:sp>
        <p:sp>
          <p:nvSpPr>
            <p:cNvPr id="111" name="Ovaal 110">
              <a:extLst>
                <a:ext uri="{FF2B5EF4-FFF2-40B4-BE49-F238E27FC236}">
                  <a16:creationId xmlns:a16="http://schemas.microsoft.com/office/drawing/2014/main" xmlns="" id="{A608C4AA-02CE-BF45-A923-723D2770626F}"/>
                </a:ext>
              </a:extLst>
            </p:cNvPr>
            <p:cNvSpPr/>
            <p:nvPr userDrawn="1"/>
          </p:nvSpPr>
          <p:spPr>
            <a:xfrm>
              <a:off x="-2959433" y="338208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12" name="Textfield placeholder">
              <a:extLst>
                <a:ext uri="{FF2B5EF4-FFF2-40B4-BE49-F238E27FC236}">
                  <a16:creationId xmlns:a16="http://schemas.microsoft.com/office/drawing/2014/main" xmlns="" id="{874B4A03-0573-E847-8509-89F183A7787C}"/>
                </a:ext>
              </a:extLst>
            </p:cNvPr>
            <p:cNvSpPr txBox="1">
              <a:spLocks/>
            </p:cNvSpPr>
            <p:nvPr/>
          </p:nvSpPr>
          <p:spPr>
            <a:xfrm>
              <a:off x="-2571950" y="3382082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3" indent="0" algn="l" defTabSz="914400" rtl="0" eaLnBrk="1" fontAlgn="auto" latinLnBrk="0" hangingPunct="1">
                <a:lnSpc>
                  <a:spcPts val="17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Kop (20 </a:t>
              </a:r>
              <a:r>
                <a:rPr kumimoji="0" lang="nl-NL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xmlns="" id="{3A2C005B-880C-254B-A44F-4883C31190CF}"/>
                </a:ext>
              </a:extLst>
            </p:cNvPr>
            <p:cNvGrpSpPr/>
            <p:nvPr/>
          </p:nvGrpSpPr>
          <p:grpSpPr>
            <a:xfrm>
              <a:off x="-2950232" y="816050"/>
              <a:ext cx="528695" cy="344202"/>
              <a:chOff x="-2880382" y="410556"/>
              <a:chExt cx="528695" cy="344202"/>
            </a:xfrm>
          </p:grpSpPr>
          <p:sp>
            <p:nvSpPr>
              <p:cNvPr id="115" name="Afgeronde rechthoek 114">
                <a:extLst>
                  <a:ext uri="{FF2B5EF4-FFF2-40B4-BE49-F238E27FC236}">
                    <a16:creationId xmlns:a16="http://schemas.microsoft.com/office/drawing/2014/main" xmlns="" id="{9484E842-0F68-E442-A04F-1F91E3176C2E}"/>
                  </a:ext>
                </a:extLst>
              </p:cNvPr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sp>
            <p:nvSpPr>
              <p:cNvPr id="116" name="Vrije vorm 115">
                <a:extLst>
                  <a:ext uri="{FF2B5EF4-FFF2-40B4-BE49-F238E27FC236}">
                    <a16:creationId xmlns:a16="http://schemas.microsoft.com/office/drawing/2014/main" xmlns="" id="{FAF614A7-6F8A-4E42-B78A-EBB93A0AD455}"/>
                  </a:ext>
                </a:extLst>
              </p:cNvPr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9525" cap="flat" cmpd="sng" algn="ctr">
                <a:solidFill>
                  <a:srgbClr val="FFFFFF">
                    <a:lumMod val="9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Start</a:t>
                </a:r>
              </a:p>
            </p:txBody>
          </p:sp>
        </p:grpSp>
        <p:sp>
          <p:nvSpPr>
            <p:cNvPr id="114" name="Tekstvak 33">
              <a:extLst>
                <a:ext uri="{FF2B5EF4-FFF2-40B4-BE49-F238E27FC236}">
                  <a16:creationId xmlns:a16="http://schemas.microsoft.com/office/drawing/2014/main" xmlns="" id="{CDDACBDA-8DD9-FD44-8F97-0514FD83EA76}"/>
                </a:ext>
              </a:extLst>
            </p:cNvPr>
            <p:cNvSpPr txBox="1"/>
            <p:nvPr userDrawn="1"/>
          </p:nvSpPr>
          <p:spPr>
            <a:xfrm>
              <a:off x="-2959433" y="372104"/>
              <a:ext cx="2679887" cy="45339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a naar de tab </a:t>
              </a:r>
              <a:r>
                <a:rPr kumimoji="0" lang="nl-NL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tart’ </a:t>
              </a:r>
              <a:r>
                <a:rPr kumimoji="0" lang="nl-NL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en vind onderstaande knoppen onder </a:t>
              </a:r>
              <a:r>
                <a:rPr kumimoji="0" lang="nl-NL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‘Alinea’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30107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/ tekst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Tekstvak 190"/>
          <p:cNvSpPr txBox="1"/>
          <p:nvPr userDrawn="1"/>
        </p:nvSpPr>
        <p:spPr>
          <a:xfrm>
            <a:off x="-85057" y="-437946"/>
            <a:ext cx="42977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0" i="0" dirty="0">
                <a:solidFill>
                  <a:schemeClr val="accent5"/>
                </a:solidFill>
                <a:latin typeface="+mn-lt"/>
                <a:cs typeface="Arial"/>
              </a:rPr>
              <a:t>KADERTEKST &amp; TEKST </a:t>
            </a:r>
            <a:r>
              <a:rPr lang="en-GB" sz="1600" b="0" i="0" dirty="0">
                <a:solidFill>
                  <a:schemeClr val="accent5"/>
                </a:solidFill>
                <a:latin typeface="Arial"/>
                <a:cs typeface="Arial"/>
              </a:rPr>
              <a:t>(50% - 50%)</a:t>
            </a:r>
          </a:p>
        </p:txBody>
      </p:sp>
      <p:sp>
        <p:nvSpPr>
          <p:cNvPr id="2" name="Rond diagonale hoek rechthoek 1">
            <a:extLst>
              <a:ext uri="{FF2B5EF4-FFF2-40B4-BE49-F238E27FC236}">
                <a16:creationId xmlns:a16="http://schemas.microsoft.com/office/drawing/2014/main" xmlns="" id="{7869CE60-B4E2-6549-A66B-9382F4451B32}"/>
              </a:ext>
            </a:extLst>
          </p:cNvPr>
          <p:cNvSpPr/>
          <p:nvPr userDrawn="1"/>
        </p:nvSpPr>
        <p:spPr>
          <a:xfrm>
            <a:off x="470567" y="908722"/>
            <a:ext cx="5398296" cy="5112568"/>
          </a:xfrm>
          <a:prstGeom prst="round2DiagRect">
            <a:avLst>
              <a:gd name="adj1" fmla="val 0"/>
              <a:gd name="adj2" fmla="val 0"/>
            </a:avLst>
          </a:prstGeom>
          <a:solidFill>
            <a:srgbClr val="FA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Tijdelijke aanduiding voor voettekst 1">
            <a:extLst>
              <a:ext uri="{FF2B5EF4-FFF2-40B4-BE49-F238E27FC236}">
                <a16:creationId xmlns:a16="http://schemas.microsoft.com/office/drawing/2014/main" xmlns="" id="{F228532A-B931-5B4E-AE40-5174DAD68A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958" y="6304235"/>
            <a:ext cx="112355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11" name="Tijdelijke aanduiding voor datum 2">
            <a:extLst>
              <a:ext uri="{FF2B5EF4-FFF2-40B4-BE49-F238E27FC236}">
                <a16:creationId xmlns:a16="http://schemas.microsoft.com/office/drawing/2014/main" xmlns="" id="{A0F182ED-F304-7349-A605-398510E6FAD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4B0AC38-1F1F-0B43-8FBD-FCA2395F6D90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16" name="Tijdelijke aanduiding voor tekst 2">
            <a:extLst>
              <a:ext uri="{FF2B5EF4-FFF2-40B4-BE49-F238E27FC236}">
                <a16:creationId xmlns:a16="http://schemas.microsoft.com/office/drawing/2014/main" xmlns="" id="{8B32A665-98A6-B34A-B048-611F740C29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54588" y="1983754"/>
            <a:ext cx="5546921" cy="403753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</a:lstStyle>
          <a:p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Eerste niveau</a:t>
            </a:r>
          </a:p>
          <a:p>
            <a:pPr lvl="2"/>
            <a:r>
              <a:rPr lang="nl-NL" dirty="0"/>
              <a:t>Tweede niveau</a:t>
            </a:r>
          </a:p>
        </p:txBody>
      </p:sp>
      <p:sp>
        <p:nvSpPr>
          <p:cNvPr id="17" name="Tijdelijke aanduiding voor tekst 2">
            <a:extLst>
              <a:ext uri="{FF2B5EF4-FFF2-40B4-BE49-F238E27FC236}">
                <a16:creationId xmlns:a16="http://schemas.microsoft.com/office/drawing/2014/main" xmlns="" id="{35CC7489-89AA-DF4F-8464-2BE53AA733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3990" y="1981311"/>
            <a:ext cx="4970857" cy="3751945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5"/>
                </a:solidFill>
              </a:defRPr>
            </a:lvl1pPr>
            <a:lvl2pPr>
              <a:buClr>
                <a:schemeClr val="accent5"/>
              </a:buClr>
              <a:defRPr>
                <a:solidFill>
                  <a:schemeClr val="accent5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5"/>
                </a:solidFill>
              </a:defRPr>
            </a:lvl3pPr>
          </a:lstStyle>
          <a:p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Eerste niveau</a:t>
            </a:r>
          </a:p>
          <a:p>
            <a:pPr lvl="2"/>
            <a:r>
              <a:rPr lang="nl-NL" dirty="0"/>
              <a:t>Tweede niveau</a:t>
            </a:r>
          </a:p>
        </p:txBody>
      </p:sp>
      <p:sp>
        <p:nvSpPr>
          <p:cNvPr id="19" name="Tijdelijke aanduiding voor tekst 3">
            <a:extLst>
              <a:ext uri="{FF2B5EF4-FFF2-40B4-BE49-F238E27FC236}">
                <a16:creationId xmlns:a16="http://schemas.microsoft.com/office/drawing/2014/main" xmlns="" id="{A34A1C71-3BBC-0A43-A364-6A72AF031B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5142" y="921328"/>
            <a:ext cx="4968552" cy="77948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1">
                <a:solidFill>
                  <a:srgbClr val="677240"/>
                </a:solidFill>
              </a:defRPr>
            </a:lvl1pPr>
          </a:lstStyle>
          <a:p>
            <a:r>
              <a:rPr lang="nl-NL" dirty="0"/>
              <a:t>Titelstijl van model bewerken</a:t>
            </a:r>
          </a:p>
        </p:txBody>
      </p:sp>
      <p:sp>
        <p:nvSpPr>
          <p:cNvPr id="54" name="Rectangle 2">
            <a:extLst>
              <a:ext uri="{FF2B5EF4-FFF2-40B4-BE49-F238E27FC236}">
                <a16:creationId xmlns:a16="http://schemas.microsoft.com/office/drawing/2014/main" xmlns="" id="{985D1B44-B8E9-9A44-AC5D-8B971922862A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54587" y="908718"/>
            <a:ext cx="5546922" cy="864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nl-NL" dirty="0"/>
              <a:t>Titelstijl van model bewerken</a:t>
            </a:r>
          </a:p>
        </p:txBody>
      </p:sp>
      <p:grpSp>
        <p:nvGrpSpPr>
          <p:cNvPr id="95" name="Instructie Tekst">
            <a:extLst>
              <a:ext uri="{FF2B5EF4-FFF2-40B4-BE49-F238E27FC236}">
                <a16:creationId xmlns:a16="http://schemas.microsoft.com/office/drawing/2014/main" xmlns="" id="{90D8903B-61D9-1A49-87DE-D14F3B067D91}"/>
              </a:ext>
            </a:extLst>
          </p:cNvPr>
          <p:cNvGrpSpPr/>
          <p:nvPr userDrawn="1"/>
        </p:nvGrpSpPr>
        <p:grpSpPr>
          <a:xfrm>
            <a:off x="-2916113" y="0"/>
            <a:ext cx="2688057" cy="3772106"/>
            <a:chOff x="-2959433" y="-5444"/>
            <a:chExt cx="2688057" cy="3772106"/>
          </a:xfrm>
        </p:grpSpPr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xmlns="" id="{BB1ABE9E-55F4-C04F-956D-771937D6CA42}"/>
                </a:ext>
              </a:extLst>
            </p:cNvPr>
            <p:cNvSpPr/>
            <p:nvPr userDrawn="1"/>
          </p:nvSpPr>
          <p:spPr>
            <a:xfrm>
              <a:off x="-2959433" y="-5444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TEKST NIVEAUS</a:t>
              </a:r>
            </a:p>
          </p:txBody>
        </p:sp>
        <p:sp>
          <p:nvSpPr>
            <p:cNvPr id="97" name="Textfield placeholder">
              <a:extLst>
                <a:ext uri="{FF2B5EF4-FFF2-40B4-BE49-F238E27FC236}">
                  <a16:creationId xmlns:a16="http://schemas.microsoft.com/office/drawing/2014/main" xmlns="" id="{650C6420-4F17-E645-8891-BDE2F53EBA2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87337" y="2675411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542925" marR="0" lvl="0" indent="-180975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5"/>
                </a:buClr>
                <a:buSzPct val="80000"/>
                <a:buFont typeface="Arial" panose="020B0604020202020204" pitchFamily="34" charset="0"/>
                <a:buChar char="-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b-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#2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98" name="Ovaal 97">
              <a:extLst>
                <a:ext uri="{FF2B5EF4-FFF2-40B4-BE49-F238E27FC236}">
                  <a16:creationId xmlns:a16="http://schemas.microsoft.com/office/drawing/2014/main" xmlns="" id="{6D048FAF-BB6B-9341-B39C-1C94C35A6700}"/>
                </a:ext>
              </a:extLst>
            </p:cNvPr>
            <p:cNvSpPr/>
            <p:nvPr userDrawn="1"/>
          </p:nvSpPr>
          <p:spPr>
            <a:xfrm>
              <a:off x="-2959433" y="196874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99" name="Ovaal 98">
              <a:extLst>
                <a:ext uri="{FF2B5EF4-FFF2-40B4-BE49-F238E27FC236}">
                  <a16:creationId xmlns:a16="http://schemas.microsoft.com/office/drawing/2014/main" xmlns="" id="{9F462279-F5C8-DC44-B3D8-DE8EC780FED4}"/>
                </a:ext>
              </a:extLst>
            </p:cNvPr>
            <p:cNvSpPr/>
            <p:nvPr userDrawn="1"/>
          </p:nvSpPr>
          <p:spPr>
            <a:xfrm>
              <a:off x="-2959433" y="2322077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xmlns="" id="{535C9B20-3DCC-B946-817C-A5F050E8A1FB}"/>
                </a:ext>
              </a:extLst>
            </p:cNvPr>
            <p:cNvSpPr/>
            <p:nvPr userDrawn="1"/>
          </p:nvSpPr>
          <p:spPr>
            <a:xfrm>
              <a:off x="-2959433" y="267541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1" name="Ovaal 100">
              <a:extLst>
                <a:ext uri="{FF2B5EF4-FFF2-40B4-BE49-F238E27FC236}">
                  <a16:creationId xmlns:a16="http://schemas.microsoft.com/office/drawing/2014/main" xmlns="" id="{0A641B46-2DF7-834E-B48E-A45EBC2E5ECD}"/>
                </a:ext>
              </a:extLst>
            </p:cNvPr>
            <p:cNvSpPr/>
            <p:nvPr userDrawn="1"/>
          </p:nvSpPr>
          <p:spPr>
            <a:xfrm>
              <a:off x="-2959433" y="3028747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02" name="Textfield placeholder">
              <a:extLst>
                <a:ext uri="{FF2B5EF4-FFF2-40B4-BE49-F238E27FC236}">
                  <a16:creationId xmlns:a16="http://schemas.microsoft.com/office/drawing/2014/main" xmlns="" id="{F7866707-CCD6-C249-8867-A50171CF867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1966925"/>
              <a:ext cx="2163709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marR="0" lvl="1" indent="-2286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Helvetica" pitchFamily="2" charset="0"/>
                <a:buChar char="●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103" name="Textfield placeholder">
              <a:extLst>
                <a:ext uri="{FF2B5EF4-FFF2-40B4-BE49-F238E27FC236}">
                  <a16:creationId xmlns:a16="http://schemas.microsoft.com/office/drawing/2014/main" xmlns="" id="{60F4016B-1311-474D-A06E-BE2257E6CB1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2322077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marR="0" lvl="2" indent="-174625" algn="l" defTabSz="914400" rtl="0" eaLnBrk="1" fontAlgn="auto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5"/>
                </a:buClr>
                <a:buSzTx/>
                <a:buFont typeface="Arial" panose="020B0604020202020204" pitchFamily="34" charset="0"/>
                <a:buChar char="•"/>
                <a:tabLst>
                  <a:tab pos="4394200" algn="l"/>
                </a:tabLst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b-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#1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104" name="Textfield placeholder">
              <a:extLst>
                <a:ext uri="{FF2B5EF4-FFF2-40B4-BE49-F238E27FC236}">
                  <a16:creationId xmlns:a16="http://schemas.microsoft.com/office/drawing/2014/main" xmlns="" id="{858B2720-C1DC-904B-B464-EAACA47608E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3028747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3" indent="0" algn="l" defTabSz="914400" rtl="0" eaLnBrk="1" fontAlgn="auto" latinLnBrk="0" hangingPunct="1">
                <a:lnSpc>
                  <a:spcPts val="17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Leestek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cxnSp>
          <p:nvCxnSpPr>
            <p:cNvPr id="105" name="Rechte verbindingslijn 104">
              <a:extLst>
                <a:ext uri="{FF2B5EF4-FFF2-40B4-BE49-F238E27FC236}">
                  <a16:creationId xmlns:a16="http://schemas.microsoft.com/office/drawing/2014/main" xmlns="" id="{A02613A8-0524-0642-814C-95B8DAE05555}"/>
                </a:ext>
              </a:extLst>
            </p:cNvPr>
            <p:cNvCxnSpPr/>
            <p:nvPr userDrawn="1"/>
          </p:nvCxnSpPr>
          <p:spPr>
            <a:xfrm>
              <a:off x="-2959100" y="274900"/>
              <a:ext cx="2674470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106" name="Rechte verbindingslijn 105">
              <a:extLst>
                <a:ext uri="{FF2B5EF4-FFF2-40B4-BE49-F238E27FC236}">
                  <a16:creationId xmlns:a16="http://schemas.microsoft.com/office/drawing/2014/main" xmlns="" id="{CCDF48E5-DF56-D14E-8C6F-FD94D77D0D86}"/>
                </a:ext>
              </a:extLst>
            </p:cNvPr>
            <p:cNvCxnSpPr/>
            <p:nvPr userDrawn="1"/>
          </p:nvCxnSpPr>
          <p:spPr>
            <a:xfrm>
              <a:off x="-2959100" y="1841989"/>
              <a:ext cx="2661379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xmlns="" id="{5622A22F-2F8A-9A41-85E2-DDF725230F53}"/>
                </a:ext>
              </a:extLst>
            </p:cNvPr>
            <p:cNvCxnSpPr/>
            <p:nvPr userDrawn="1"/>
          </p:nvCxnSpPr>
          <p:spPr>
            <a:xfrm>
              <a:off x="-2959100" y="3766662"/>
              <a:ext cx="2661379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grpSp>
          <p:nvGrpSpPr>
            <p:cNvPr id="108" name="Groep 107">
              <a:extLst>
                <a:ext uri="{FF2B5EF4-FFF2-40B4-BE49-F238E27FC236}">
                  <a16:creationId xmlns:a16="http://schemas.microsoft.com/office/drawing/2014/main" xmlns="" id="{A63FADFF-400A-644C-96AC-F4765CEC0A5B}"/>
                </a:ext>
              </a:extLst>
            </p:cNvPr>
            <p:cNvGrpSpPr/>
            <p:nvPr userDrawn="1"/>
          </p:nvGrpSpPr>
          <p:grpSpPr>
            <a:xfrm>
              <a:off x="-1948476" y="816741"/>
              <a:ext cx="409108" cy="427699"/>
              <a:chOff x="-1085063" y="758027"/>
              <a:chExt cx="633799" cy="622540"/>
            </a:xfrm>
          </p:grpSpPr>
          <p:sp>
            <p:nvSpPr>
              <p:cNvPr id="156" name="Afgeronde rechthoek 155">
                <a:extLst>
                  <a:ext uri="{FF2B5EF4-FFF2-40B4-BE49-F238E27FC236}">
                    <a16:creationId xmlns:a16="http://schemas.microsoft.com/office/drawing/2014/main" xmlns="" id="{82DC1730-2703-3843-9D3C-776F456B900C}"/>
                  </a:ext>
                </a:extLst>
              </p:cNvPr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F291F"/>
                  </a:solidFill>
                  <a:effectLst/>
                  <a:uLnTx/>
                  <a:uFillTx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57" name="Groep 156">
                <a:extLst>
                  <a:ext uri="{FF2B5EF4-FFF2-40B4-BE49-F238E27FC236}">
                    <a16:creationId xmlns:a16="http://schemas.microsoft.com/office/drawing/2014/main" xmlns="" id="{C6C56DF4-C25C-9040-BB84-C405DA5480DC}"/>
                  </a:ext>
                </a:extLst>
              </p:cNvPr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158" name="Rechthoek 157">
                  <a:extLst>
                    <a:ext uri="{FF2B5EF4-FFF2-40B4-BE49-F238E27FC236}">
                      <a16:creationId xmlns:a16="http://schemas.microsoft.com/office/drawing/2014/main" xmlns="" id="{CA70AA12-E1E2-F940-8FCE-06F354039AD7}"/>
                    </a:ext>
                  </a:extLst>
                </p:cNvPr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9" name="Rechthoek 158">
                  <a:extLst>
                    <a:ext uri="{FF2B5EF4-FFF2-40B4-BE49-F238E27FC236}">
                      <a16:creationId xmlns:a16="http://schemas.microsoft.com/office/drawing/2014/main" xmlns="" id="{1B1D8EB9-CEE6-1640-9852-136C4F5AF75A}"/>
                    </a:ext>
                  </a:extLst>
                </p:cNvPr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0" name="Rechthoek 159">
                  <a:extLst>
                    <a:ext uri="{FF2B5EF4-FFF2-40B4-BE49-F238E27FC236}">
                      <a16:creationId xmlns:a16="http://schemas.microsoft.com/office/drawing/2014/main" xmlns="" id="{8D9D7B69-F7AD-F349-82F7-4E65972CCB9B}"/>
                    </a:ext>
                  </a:extLst>
                </p:cNvPr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1" name="Rechthoek 160">
                  <a:extLst>
                    <a:ext uri="{FF2B5EF4-FFF2-40B4-BE49-F238E27FC236}">
                      <a16:creationId xmlns:a16="http://schemas.microsoft.com/office/drawing/2014/main" xmlns="" id="{04A77709-53EA-964B-A876-3C0AD828946C}"/>
                    </a:ext>
                  </a:extLst>
                </p:cNvPr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2" name="Rechthoek 161">
                  <a:extLst>
                    <a:ext uri="{FF2B5EF4-FFF2-40B4-BE49-F238E27FC236}">
                      <a16:creationId xmlns:a16="http://schemas.microsoft.com/office/drawing/2014/main" xmlns="" id="{3BBD0268-91B0-FE44-AF99-C2F6EE79D399}"/>
                    </a:ext>
                  </a:extLst>
                </p:cNvPr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3" name="Rechthoek 162">
                  <a:extLst>
                    <a:ext uri="{FF2B5EF4-FFF2-40B4-BE49-F238E27FC236}">
                      <a16:creationId xmlns:a16="http://schemas.microsoft.com/office/drawing/2014/main" xmlns="" id="{2DAA47D8-FC67-1E4B-967B-EC6B03F00DC6}"/>
                    </a:ext>
                  </a:extLst>
                </p:cNvPr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4" name="Rechthoek 163">
                  <a:extLst>
                    <a:ext uri="{FF2B5EF4-FFF2-40B4-BE49-F238E27FC236}">
                      <a16:creationId xmlns:a16="http://schemas.microsoft.com/office/drawing/2014/main" xmlns="" id="{18C0C12E-432D-AA4D-B00C-9927B0D468AD}"/>
                    </a:ext>
                  </a:extLst>
                </p:cNvPr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5" name="Rechthoek 164">
                  <a:extLst>
                    <a:ext uri="{FF2B5EF4-FFF2-40B4-BE49-F238E27FC236}">
                      <a16:creationId xmlns:a16="http://schemas.microsoft.com/office/drawing/2014/main" xmlns="" id="{AE3E3B37-F983-4742-8D66-213303974C23}"/>
                    </a:ext>
                  </a:extLst>
                </p:cNvPr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6" name="Rechthoek 165">
                  <a:extLst>
                    <a:ext uri="{FF2B5EF4-FFF2-40B4-BE49-F238E27FC236}">
                      <a16:creationId xmlns:a16="http://schemas.microsoft.com/office/drawing/2014/main" xmlns="" id="{53A2DA37-CB21-8B4B-BE09-120AFFF9FDAA}"/>
                    </a:ext>
                  </a:extLst>
                </p:cNvPr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7" name="Rechthoek 166">
                  <a:extLst>
                    <a:ext uri="{FF2B5EF4-FFF2-40B4-BE49-F238E27FC236}">
                      <a16:creationId xmlns:a16="http://schemas.microsoft.com/office/drawing/2014/main" xmlns="" id="{817D10A8-BAB4-564D-90D4-09E0008152A4}"/>
                    </a:ext>
                  </a:extLst>
                </p:cNvPr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8" name="Vrije vorm 167">
                  <a:extLst>
                    <a:ext uri="{FF2B5EF4-FFF2-40B4-BE49-F238E27FC236}">
                      <a16:creationId xmlns:a16="http://schemas.microsoft.com/office/drawing/2014/main" xmlns="" id="{32A41F4A-1B15-C946-82BE-7AB6F61A8FB2}"/>
                    </a:ext>
                  </a:extLst>
                </p:cNvPr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109" name="Groep 108">
              <a:extLst>
                <a:ext uri="{FF2B5EF4-FFF2-40B4-BE49-F238E27FC236}">
                  <a16:creationId xmlns:a16="http://schemas.microsoft.com/office/drawing/2014/main" xmlns="" id="{E82AEAE1-0DBF-4042-9961-38399DF71F67}"/>
                </a:ext>
              </a:extLst>
            </p:cNvPr>
            <p:cNvGrpSpPr/>
            <p:nvPr/>
          </p:nvGrpSpPr>
          <p:grpSpPr>
            <a:xfrm>
              <a:off x="-2950232" y="1207835"/>
              <a:ext cx="532929" cy="509563"/>
              <a:chOff x="-2880382" y="802341"/>
              <a:chExt cx="532929" cy="509563"/>
            </a:xfrm>
          </p:grpSpPr>
          <p:sp>
            <p:nvSpPr>
              <p:cNvPr id="134" name="Rechthoek 133">
                <a:extLst>
                  <a:ext uri="{FF2B5EF4-FFF2-40B4-BE49-F238E27FC236}">
                    <a16:creationId xmlns:a16="http://schemas.microsoft.com/office/drawing/2014/main" xmlns="" id="{68817407-D79C-4543-8A3F-829DC752161B}"/>
                  </a:ext>
                </a:extLst>
              </p:cNvPr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pic>
            <p:nvPicPr>
              <p:cNvPr id="135" name="Picture 2">
                <a:extLst>
                  <a:ext uri="{FF2B5EF4-FFF2-40B4-BE49-F238E27FC236}">
                    <a16:creationId xmlns:a16="http://schemas.microsoft.com/office/drawing/2014/main" xmlns="" id="{05C97E47-7BDB-7A48-A8F2-B2FFBB33E41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36" name="Picture 3">
                <a:extLst>
                  <a:ext uri="{FF2B5EF4-FFF2-40B4-BE49-F238E27FC236}">
                    <a16:creationId xmlns:a16="http://schemas.microsoft.com/office/drawing/2014/main" xmlns="" id="{83CF6472-F042-674D-B448-CF8CB7C7050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xmlns="" id="{A0EE9CDC-7704-5744-9C87-1132ACA05101}"/>
                  </a:ext>
                </a:extLst>
              </p:cNvPr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151" name="Rechthoek 150">
                  <a:extLst>
                    <a:ext uri="{FF2B5EF4-FFF2-40B4-BE49-F238E27FC236}">
                      <a16:creationId xmlns:a16="http://schemas.microsoft.com/office/drawing/2014/main" xmlns="" id="{3BCCB718-E5EC-BF40-8F66-EDA09EAAEEDE}"/>
                    </a:ext>
                  </a:extLst>
                </p:cNvPr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2" name="Rechthoek 151">
                  <a:extLst>
                    <a:ext uri="{FF2B5EF4-FFF2-40B4-BE49-F238E27FC236}">
                      <a16:creationId xmlns:a16="http://schemas.microsoft.com/office/drawing/2014/main" xmlns="" id="{C7EBB63D-DE01-5A4F-BFBC-E5DFCE40AD06}"/>
                    </a:ext>
                  </a:extLst>
                </p:cNvPr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3" name="Rechthoek 152">
                  <a:extLst>
                    <a:ext uri="{FF2B5EF4-FFF2-40B4-BE49-F238E27FC236}">
                      <a16:creationId xmlns:a16="http://schemas.microsoft.com/office/drawing/2014/main" xmlns="" id="{C69B6888-F753-4247-BFE3-B5FCEEA0E1C3}"/>
                    </a:ext>
                  </a:extLst>
                </p:cNvPr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4" name="Rechthoek 153">
                  <a:extLst>
                    <a:ext uri="{FF2B5EF4-FFF2-40B4-BE49-F238E27FC236}">
                      <a16:creationId xmlns:a16="http://schemas.microsoft.com/office/drawing/2014/main" xmlns="" id="{8FFDB975-4AF1-D945-BB04-CC335945CC99}"/>
                    </a:ext>
                  </a:extLst>
                </p:cNvPr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5" name="Rechthoek 154">
                  <a:extLst>
                    <a:ext uri="{FF2B5EF4-FFF2-40B4-BE49-F238E27FC236}">
                      <a16:creationId xmlns:a16="http://schemas.microsoft.com/office/drawing/2014/main" xmlns="" id="{F0AF41E2-D2B4-AE4A-9375-B25983F6CD42}"/>
                    </a:ext>
                  </a:extLst>
                </p:cNvPr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xmlns="" id="{DD108305-E45A-4A4F-99E3-174D627560A3}"/>
                  </a:ext>
                </a:extLst>
              </p:cNvPr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139" name="Groep 138">
                  <a:extLst>
                    <a:ext uri="{FF2B5EF4-FFF2-40B4-BE49-F238E27FC236}">
                      <a16:creationId xmlns:a16="http://schemas.microsoft.com/office/drawing/2014/main" xmlns="" id="{EE498249-68AC-2245-BF50-A8674371C80F}"/>
                    </a:ext>
                  </a:extLst>
                </p:cNvPr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146" name="Rechthoek 145">
                    <a:extLst>
                      <a:ext uri="{FF2B5EF4-FFF2-40B4-BE49-F238E27FC236}">
                        <a16:creationId xmlns:a16="http://schemas.microsoft.com/office/drawing/2014/main" xmlns="" id="{798B6C8C-A314-D444-9FB5-C58184736FFD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7" name="Rechthoek 146">
                    <a:extLst>
                      <a:ext uri="{FF2B5EF4-FFF2-40B4-BE49-F238E27FC236}">
                        <a16:creationId xmlns:a16="http://schemas.microsoft.com/office/drawing/2014/main" xmlns="" id="{A5FA920D-8446-7943-896A-D9653618FF03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8" name="Rechthoek 147">
                    <a:extLst>
                      <a:ext uri="{FF2B5EF4-FFF2-40B4-BE49-F238E27FC236}">
                        <a16:creationId xmlns:a16="http://schemas.microsoft.com/office/drawing/2014/main" xmlns="" id="{C57C8225-4F06-0148-AF9A-3C19F8914012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9" name="Rechthoek 148">
                    <a:extLst>
                      <a:ext uri="{FF2B5EF4-FFF2-40B4-BE49-F238E27FC236}">
                        <a16:creationId xmlns:a16="http://schemas.microsoft.com/office/drawing/2014/main" xmlns="" id="{55868DCB-2D7E-5B46-BFCA-038659892B33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0" name="Rechthoek 149">
                    <a:extLst>
                      <a:ext uri="{FF2B5EF4-FFF2-40B4-BE49-F238E27FC236}">
                        <a16:creationId xmlns:a16="http://schemas.microsoft.com/office/drawing/2014/main" xmlns="" id="{E15BCF3E-3478-5749-A1ED-84470709FB29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</p:grpSp>
            <p:grpSp>
              <p:nvGrpSpPr>
                <p:cNvPr id="140" name="Groep 139">
                  <a:extLst>
                    <a:ext uri="{FF2B5EF4-FFF2-40B4-BE49-F238E27FC236}">
                      <a16:creationId xmlns:a16="http://schemas.microsoft.com/office/drawing/2014/main" xmlns="" id="{04AE6BBD-2898-D34C-968A-3251567579DC}"/>
                    </a:ext>
                  </a:extLst>
                </p:cNvPr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141" name="Rechthoek 140">
                    <a:extLst>
                      <a:ext uri="{FF2B5EF4-FFF2-40B4-BE49-F238E27FC236}">
                        <a16:creationId xmlns:a16="http://schemas.microsoft.com/office/drawing/2014/main" xmlns="" id="{52D50867-53C3-5641-B13C-D2D273725290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2" name="Rechthoek 141">
                    <a:extLst>
                      <a:ext uri="{FF2B5EF4-FFF2-40B4-BE49-F238E27FC236}">
                        <a16:creationId xmlns:a16="http://schemas.microsoft.com/office/drawing/2014/main" xmlns="" id="{793CD1B7-477D-2D48-A572-6EA65F3CA235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3" name="Rechthoek 142">
                    <a:extLst>
                      <a:ext uri="{FF2B5EF4-FFF2-40B4-BE49-F238E27FC236}">
                        <a16:creationId xmlns:a16="http://schemas.microsoft.com/office/drawing/2014/main" xmlns="" id="{EE110136-6A32-7141-925E-7CDFF92A68F2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4" name="Rechthoek 143">
                    <a:extLst>
                      <a:ext uri="{FF2B5EF4-FFF2-40B4-BE49-F238E27FC236}">
                        <a16:creationId xmlns:a16="http://schemas.microsoft.com/office/drawing/2014/main" xmlns="" id="{6BCDF4CB-54AD-2948-86A6-76F35A4AA5FB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45" name="Rechthoek 144">
                    <a:extLst>
                      <a:ext uri="{FF2B5EF4-FFF2-40B4-BE49-F238E27FC236}">
                        <a16:creationId xmlns:a16="http://schemas.microsoft.com/office/drawing/2014/main" xmlns="" id="{3F9F34E4-B5EE-9948-9D5B-B950C45B7A0C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grpSp>
          <p:nvGrpSpPr>
            <p:cNvPr id="110" name="Groep 109">
              <a:extLst>
                <a:ext uri="{FF2B5EF4-FFF2-40B4-BE49-F238E27FC236}">
                  <a16:creationId xmlns:a16="http://schemas.microsoft.com/office/drawing/2014/main" xmlns="" id="{6E6EE704-56FC-3D44-8D8D-346FA918B801}"/>
                </a:ext>
              </a:extLst>
            </p:cNvPr>
            <p:cNvGrpSpPr/>
            <p:nvPr userDrawn="1"/>
          </p:nvGrpSpPr>
          <p:grpSpPr>
            <a:xfrm>
              <a:off x="-1948476" y="1281164"/>
              <a:ext cx="413704" cy="427699"/>
              <a:chOff x="-1845083" y="758027"/>
              <a:chExt cx="633799" cy="622540"/>
            </a:xfrm>
          </p:grpSpPr>
          <p:sp>
            <p:nvSpPr>
              <p:cNvPr id="121" name="Afgeronde rechthoek 120">
                <a:extLst>
                  <a:ext uri="{FF2B5EF4-FFF2-40B4-BE49-F238E27FC236}">
                    <a16:creationId xmlns:a16="http://schemas.microsoft.com/office/drawing/2014/main" xmlns="" id="{EB295911-9834-1646-9EA8-8081530BFE73}"/>
                  </a:ext>
                </a:extLst>
              </p:cNvPr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F291F"/>
                  </a:solidFill>
                  <a:effectLst/>
                  <a:uLnTx/>
                  <a:uFillTx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22" name="Groep 121">
                <a:extLst>
                  <a:ext uri="{FF2B5EF4-FFF2-40B4-BE49-F238E27FC236}">
                    <a16:creationId xmlns:a16="http://schemas.microsoft.com/office/drawing/2014/main" xmlns="" id="{187EF99D-337D-C94E-A17C-0D120EBE5FC8}"/>
                  </a:ext>
                </a:extLst>
              </p:cNvPr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123" name="Rechthoek 122">
                  <a:extLst>
                    <a:ext uri="{FF2B5EF4-FFF2-40B4-BE49-F238E27FC236}">
                      <a16:creationId xmlns:a16="http://schemas.microsoft.com/office/drawing/2014/main" xmlns="" id="{B61E946E-02CB-9B4C-A23A-62C0DD19A087}"/>
                    </a:ext>
                  </a:extLst>
                </p:cNvPr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4" name="Rechthoek 123">
                  <a:extLst>
                    <a:ext uri="{FF2B5EF4-FFF2-40B4-BE49-F238E27FC236}">
                      <a16:creationId xmlns:a16="http://schemas.microsoft.com/office/drawing/2014/main" xmlns="" id="{96887208-ED9A-E747-A931-66C6F8AD0F39}"/>
                    </a:ext>
                  </a:extLst>
                </p:cNvPr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5" name="Rechthoek 124">
                  <a:extLst>
                    <a:ext uri="{FF2B5EF4-FFF2-40B4-BE49-F238E27FC236}">
                      <a16:creationId xmlns:a16="http://schemas.microsoft.com/office/drawing/2014/main" xmlns="" id="{73B375E2-9531-2640-A2DB-14F1731BBC3A}"/>
                    </a:ext>
                  </a:extLst>
                </p:cNvPr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6" name="Rechthoek 125">
                  <a:extLst>
                    <a:ext uri="{FF2B5EF4-FFF2-40B4-BE49-F238E27FC236}">
                      <a16:creationId xmlns:a16="http://schemas.microsoft.com/office/drawing/2014/main" xmlns="" id="{384E283C-59C5-B145-A2DC-609C3D400A99}"/>
                    </a:ext>
                  </a:extLst>
                </p:cNvPr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7" name="Rechthoek 126">
                  <a:extLst>
                    <a:ext uri="{FF2B5EF4-FFF2-40B4-BE49-F238E27FC236}">
                      <a16:creationId xmlns:a16="http://schemas.microsoft.com/office/drawing/2014/main" xmlns="" id="{F18D506B-A70C-2946-8FB1-F8B044FAD123}"/>
                    </a:ext>
                  </a:extLst>
                </p:cNvPr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8" name="Rechthoek 127">
                  <a:extLst>
                    <a:ext uri="{FF2B5EF4-FFF2-40B4-BE49-F238E27FC236}">
                      <a16:creationId xmlns:a16="http://schemas.microsoft.com/office/drawing/2014/main" xmlns="" id="{54888603-D163-A644-AB7F-78F95523AA69}"/>
                    </a:ext>
                  </a:extLst>
                </p:cNvPr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xmlns="" id="{73317553-8387-C84B-9FE7-7E2E1F3B1B99}"/>
                    </a:ext>
                  </a:extLst>
                </p:cNvPr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xmlns="" id="{8B67F856-60EC-A942-9F58-5E5BB016B93D}"/>
                    </a:ext>
                  </a:extLst>
                </p:cNvPr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xmlns="" id="{A95EE8EB-8DA4-9F4A-8A70-B9C06D736036}"/>
                    </a:ext>
                  </a:extLst>
                </p:cNvPr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xmlns="" id="{3C799E74-64F1-F54B-A6E3-BA8379AD066D}"/>
                    </a:ext>
                  </a:extLst>
                </p:cNvPr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33" name="Vrije vorm 132">
                  <a:extLst>
                    <a:ext uri="{FF2B5EF4-FFF2-40B4-BE49-F238E27FC236}">
                      <a16:creationId xmlns:a16="http://schemas.microsoft.com/office/drawing/2014/main" xmlns="" id="{0EEDD8F9-E149-6C4B-B6A4-4D1708620725}"/>
                    </a:ext>
                  </a:extLst>
                </p:cNvPr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</p:grp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xmlns="" id="{9C9EDA04-1B9C-A146-9DC0-B897AE44691C}"/>
                </a:ext>
              </a:extLst>
            </p:cNvPr>
            <p:cNvCxnSpPr>
              <a:stCxn id="136" idx="2"/>
              <a:endCxn id="121" idx="1"/>
            </p:cNvCxnSpPr>
            <p:nvPr userDrawn="1"/>
          </p:nvCxnSpPr>
          <p:spPr>
            <a:xfrm>
              <a:off x="-2814292" y="1441193"/>
              <a:ext cx="865816" cy="53821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headEnd type="oval"/>
            </a:ln>
            <a:effectLst/>
          </p:spPr>
        </p:cxnSp>
        <p:cxnSp>
          <p:nvCxnSpPr>
            <p:cNvPr id="112" name="Rechte verbindingslijn 111">
              <a:extLst>
                <a:ext uri="{FF2B5EF4-FFF2-40B4-BE49-F238E27FC236}">
                  <a16:creationId xmlns:a16="http://schemas.microsoft.com/office/drawing/2014/main" xmlns="" id="{7AC1707B-7867-2145-94A2-4CBB0601A523}"/>
                </a:ext>
              </a:extLst>
            </p:cNvPr>
            <p:cNvCxnSpPr>
              <a:endCxn id="156" idx="1"/>
            </p:cNvCxnSpPr>
            <p:nvPr userDrawn="1"/>
          </p:nvCxnSpPr>
          <p:spPr>
            <a:xfrm flipV="1">
              <a:off x="-2453902" y="1030591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headEnd type="oval"/>
            </a:ln>
            <a:effectLst/>
          </p:spPr>
        </p:cxnSp>
        <p:sp>
          <p:nvSpPr>
            <p:cNvPr id="113" name="Textfield placeholder">
              <a:extLst>
                <a:ext uri="{FF2B5EF4-FFF2-40B4-BE49-F238E27FC236}">
                  <a16:creationId xmlns:a16="http://schemas.microsoft.com/office/drawing/2014/main" xmlns="" id="{84D1C615-0211-A643-8CFD-0DE4C7F7D05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341598" y="816743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iveau omhoog</a:t>
              </a:r>
            </a:p>
          </p:txBody>
        </p:sp>
        <p:sp>
          <p:nvSpPr>
            <p:cNvPr id="114" name="Textfield placeholder">
              <a:extLst>
                <a:ext uri="{FF2B5EF4-FFF2-40B4-BE49-F238E27FC236}">
                  <a16:creationId xmlns:a16="http://schemas.microsoft.com/office/drawing/2014/main" xmlns="" id="{D0C7438D-DB0C-C847-B41E-D66956ED99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341599" y="1281164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iveau omlaag</a:t>
              </a:r>
            </a:p>
          </p:txBody>
        </p:sp>
        <p:sp>
          <p:nvSpPr>
            <p:cNvPr id="115" name="Ovaal 114">
              <a:extLst>
                <a:ext uri="{FF2B5EF4-FFF2-40B4-BE49-F238E27FC236}">
                  <a16:creationId xmlns:a16="http://schemas.microsoft.com/office/drawing/2014/main" xmlns="" id="{ABBF5082-27FE-2F4F-9DCA-8F820F566339}"/>
                </a:ext>
              </a:extLst>
            </p:cNvPr>
            <p:cNvSpPr/>
            <p:nvPr userDrawn="1"/>
          </p:nvSpPr>
          <p:spPr>
            <a:xfrm>
              <a:off x="-2959433" y="338208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16" name="Textfield placeholder">
              <a:extLst>
                <a:ext uri="{FF2B5EF4-FFF2-40B4-BE49-F238E27FC236}">
                  <a16:creationId xmlns:a16="http://schemas.microsoft.com/office/drawing/2014/main" xmlns="" id="{C7CAB933-061E-1F49-8030-C914973E591A}"/>
                </a:ext>
              </a:extLst>
            </p:cNvPr>
            <p:cNvSpPr txBox="1">
              <a:spLocks/>
            </p:cNvSpPr>
            <p:nvPr/>
          </p:nvSpPr>
          <p:spPr>
            <a:xfrm>
              <a:off x="-2571950" y="3382082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3" indent="0" algn="l" defTabSz="914400" rtl="0" eaLnBrk="1" fontAlgn="auto" latinLnBrk="0" hangingPunct="1">
                <a:lnSpc>
                  <a:spcPts val="17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Kop (20 </a:t>
              </a:r>
              <a:r>
                <a:rPr kumimoji="0" lang="nl-NL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grpSp>
          <p:nvGrpSpPr>
            <p:cNvPr id="117" name="Groep 116">
              <a:extLst>
                <a:ext uri="{FF2B5EF4-FFF2-40B4-BE49-F238E27FC236}">
                  <a16:creationId xmlns:a16="http://schemas.microsoft.com/office/drawing/2014/main" xmlns="" id="{7C8905E7-ABE1-EB42-8C6B-13E94D825222}"/>
                </a:ext>
              </a:extLst>
            </p:cNvPr>
            <p:cNvGrpSpPr/>
            <p:nvPr/>
          </p:nvGrpSpPr>
          <p:grpSpPr>
            <a:xfrm>
              <a:off x="-2950232" y="816050"/>
              <a:ext cx="528695" cy="344202"/>
              <a:chOff x="-2880382" y="410556"/>
              <a:chExt cx="528695" cy="344202"/>
            </a:xfrm>
          </p:grpSpPr>
          <p:sp>
            <p:nvSpPr>
              <p:cNvPr id="119" name="Afgeronde rechthoek 118">
                <a:extLst>
                  <a:ext uri="{FF2B5EF4-FFF2-40B4-BE49-F238E27FC236}">
                    <a16:creationId xmlns:a16="http://schemas.microsoft.com/office/drawing/2014/main" xmlns="" id="{1D3B9DC3-FB23-E747-B673-2A4DD1769CCE}"/>
                  </a:ext>
                </a:extLst>
              </p:cNvPr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sp>
            <p:nvSpPr>
              <p:cNvPr id="120" name="Vrije vorm 119">
                <a:extLst>
                  <a:ext uri="{FF2B5EF4-FFF2-40B4-BE49-F238E27FC236}">
                    <a16:creationId xmlns:a16="http://schemas.microsoft.com/office/drawing/2014/main" xmlns="" id="{1E2714F2-C2DA-B446-ADD2-FBC448DCCF51}"/>
                  </a:ext>
                </a:extLst>
              </p:cNvPr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9525" cap="flat" cmpd="sng" algn="ctr">
                <a:solidFill>
                  <a:srgbClr val="FFFFFF">
                    <a:lumMod val="9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Start</a:t>
                </a:r>
              </a:p>
            </p:txBody>
          </p:sp>
        </p:grpSp>
        <p:sp>
          <p:nvSpPr>
            <p:cNvPr id="118" name="Tekstvak 33">
              <a:extLst>
                <a:ext uri="{FF2B5EF4-FFF2-40B4-BE49-F238E27FC236}">
                  <a16:creationId xmlns:a16="http://schemas.microsoft.com/office/drawing/2014/main" xmlns="" id="{433B3437-362C-7845-A80F-58CA083C5CAF}"/>
                </a:ext>
              </a:extLst>
            </p:cNvPr>
            <p:cNvSpPr txBox="1"/>
            <p:nvPr userDrawn="1"/>
          </p:nvSpPr>
          <p:spPr>
            <a:xfrm>
              <a:off x="-2959433" y="372104"/>
              <a:ext cx="2679887" cy="45339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a naar de tab </a:t>
              </a:r>
              <a:r>
                <a:rPr kumimoji="0" lang="nl-NL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tart’ </a:t>
              </a:r>
              <a:r>
                <a:rPr kumimoji="0" lang="nl-NL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en vind onderstaande knoppen onder </a:t>
              </a:r>
              <a:r>
                <a:rPr kumimoji="0" lang="nl-NL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‘Alinea’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42718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jdelijke aanduiding voor afbeelding 7"/>
          <p:cNvSpPr>
            <a:spLocks noGrp="1"/>
          </p:cNvSpPr>
          <p:nvPr userDrawn="1">
            <p:ph type="pic" sz="quarter" idx="13" hasCustomPrompt="1"/>
          </p:nvPr>
        </p:nvSpPr>
        <p:spPr>
          <a:xfrm>
            <a:off x="4664597" y="908890"/>
            <a:ext cx="7036914" cy="5051676"/>
          </a:xfrm>
          <a:prstGeom prst="roundRect">
            <a:avLst>
              <a:gd name="adj" fmla="val 0"/>
            </a:avLst>
          </a:prstGeom>
          <a:solidFill>
            <a:srgbClr val="EAEAEA"/>
          </a:solidFill>
        </p:spPr>
        <p:txBody>
          <a:bodyPr anchor="ctr"/>
          <a:lstStyle>
            <a:lvl1pPr marL="0" indent="0" algn="ctr">
              <a:lnSpc>
                <a:spcPct val="150000"/>
              </a:lnSpc>
              <a:buNone/>
              <a:defRPr sz="2000" b="0" i="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147" name="Tekstvak 146"/>
          <p:cNvSpPr txBox="1"/>
          <p:nvPr userDrawn="1"/>
        </p:nvSpPr>
        <p:spPr>
          <a:xfrm>
            <a:off x="-85057" y="-459432"/>
            <a:ext cx="37936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0" i="0" dirty="0">
                <a:solidFill>
                  <a:schemeClr val="accent5"/>
                </a:solidFill>
                <a:latin typeface="Arial"/>
                <a:cs typeface="Arial"/>
              </a:rPr>
              <a:t>INHOUDSOPGAVE-SLIDE</a:t>
            </a:r>
          </a:p>
        </p:txBody>
      </p:sp>
      <p:sp>
        <p:nvSpPr>
          <p:cNvPr id="23" name="Tekstvak 22"/>
          <p:cNvSpPr txBox="1"/>
          <p:nvPr userDrawn="1"/>
        </p:nvSpPr>
        <p:spPr>
          <a:xfrm>
            <a:off x="8245876" y="-55916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dirty="0"/>
          </a:p>
        </p:txBody>
      </p:sp>
      <p:sp>
        <p:nvSpPr>
          <p:cNvPr id="70" name="Rectangle 2">
            <a:extLst>
              <a:ext uri="{FF2B5EF4-FFF2-40B4-BE49-F238E27FC236}">
                <a16:creationId xmlns:a16="http://schemas.microsoft.com/office/drawing/2014/main" xmlns="" id="{47B77AF9-9CA2-1942-9857-0D3ECC8481F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959" y="908890"/>
            <a:ext cx="3980920" cy="863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Titelstijl van model bewerken</a:t>
            </a:r>
          </a:p>
        </p:txBody>
      </p:sp>
      <p:sp>
        <p:nvSpPr>
          <p:cNvPr id="7" name="Tijdelijke aanduiding voor voettekst 1">
            <a:extLst>
              <a:ext uri="{FF2B5EF4-FFF2-40B4-BE49-F238E27FC236}">
                <a16:creationId xmlns:a16="http://schemas.microsoft.com/office/drawing/2014/main" xmlns="" id="{7A1CEB3B-F23F-5E44-BE8F-066270EFE6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958" y="6304235"/>
            <a:ext cx="112355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8" name="Tijdelijke aanduiding voor datum 2">
            <a:extLst>
              <a:ext uri="{FF2B5EF4-FFF2-40B4-BE49-F238E27FC236}">
                <a16:creationId xmlns:a16="http://schemas.microsoft.com/office/drawing/2014/main" xmlns="" id="{E085B509-32F6-3741-8780-68D02C4362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351A253-8C5D-DA46-858A-0F37937F7833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xmlns="" id="{349D8724-7868-F245-B94A-76E0366877F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958" y="1983754"/>
            <a:ext cx="3980921" cy="403753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</a:lstStyle>
          <a:p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Eerste niveau</a:t>
            </a:r>
          </a:p>
          <a:p>
            <a:pPr lvl="2"/>
            <a:r>
              <a:rPr lang="nl-NL" dirty="0"/>
              <a:t>Tweede niveau</a:t>
            </a:r>
          </a:p>
        </p:txBody>
      </p:sp>
      <p:grpSp>
        <p:nvGrpSpPr>
          <p:cNvPr id="87" name="Groep 86">
            <a:extLst>
              <a:ext uri="{FF2B5EF4-FFF2-40B4-BE49-F238E27FC236}">
                <a16:creationId xmlns:a16="http://schemas.microsoft.com/office/drawing/2014/main" xmlns="" id="{CC815B95-A30C-C44F-A8E2-8ECE343834E7}"/>
              </a:ext>
            </a:extLst>
          </p:cNvPr>
          <p:cNvGrpSpPr/>
          <p:nvPr userDrawn="1"/>
        </p:nvGrpSpPr>
        <p:grpSpPr>
          <a:xfrm>
            <a:off x="12337391" y="14897"/>
            <a:ext cx="2814164" cy="6848547"/>
            <a:chOff x="12337391" y="14897"/>
            <a:chExt cx="2814164" cy="6848547"/>
          </a:xfrm>
        </p:grpSpPr>
        <p:grpSp>
          <p:nvGrpSpPr>
            <p:cNvPr id="88" name="Groep 87">
              <a:extLst>
                <a:ext uri="{FF2B5EF4-FFF2-40B4-BE49-F238E27FC236}">
                  <a16:creationId xmlns:a16="http://schemas.microsoft.com/office/drawing/2014/main" xmlns="" id="{1C29C6EA-C457-1C4D-B87E-0F36CEBBF33C}"/>
                </a:ext>
              </a:extLst>
            </p:cNvPr>
            <p:cNvGrpSpPr/>
            <p:nvPr userDrawn="1"/>
          </p:nvGrpSpPr>
          <p:grpSpPr>
            <a:xfrm>
              <a:off x="12434693" y="14897"/>
              <a:ext cx="2716862" cy="5621628"/>
              <a:chOff x="12434693" y="14897"/>
              <a:chExt cx="2716862" cy="5621628"/>
            </a:xfrm>
          </p:grpSpPr>
          <p:sp>
            <p:nvSpPr>
              <p:cNvPr id="98" name="Rechthoek 97">
                <a:extLst>
                  <a:ext uri="{FF2B5EF4-FFF2-40B4-BE49-F238E27FC236}">
                    <a16:creationId xmlns:a16="http://schemas.microsoft.com/office/drawing/2014/main" xmlns="" id="{C9315CB1-7631-FD4F-BC7B-E44B8576809E}"/>
                  </a:ext>
                </a:extLst>
              </p:cNvPr>
              <p:cNvSpPr/>
              <p:nvPr/>
            </p:nvSpPr>
            <p:spPr>
              <a:xfrm>
                <a:off x="12441150" y="14897"/>
                <a:ext cx="2696270" cy="16177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80000"/>
                  </a:lnSpc>
                </a:pPr>
                <a:r>
                  <a:rPr lang="nl-NL" sz="1600" b="1" kern="0" cap="all" baseline="0" noProof="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FBEELDING INVOEGEN</a:t>
                </a:r>
              </a:p>
            </p:txBody>
          </p:sp>
          <p:sp>
            <p:nvSpPr>
              <p:cNvPr id="99" name="Tekstvak 33">
                <a:extLst>
                  <a:ext uri="{FF2B5EF4-FFF2-40B4-BE49-F238E27FC236}">
                    <a16:creationId xmlns:a16="http://schemas.microsoft.com/office/drawing/2014/main" xmlns="" id="{51F5B0DC-8712-034B-AF37-4B814D94E2D7}"/>
                  </a:ext>
                </a:extLst>
              </p:cNvPr>
              <p:cNvSpPr txBox="1"/>
              <p:nvPr/>
            </p:nvSpPr>
            <p:spPr>
              <a:xfrm>
                <a:off x="12441149" y="814239"/>
                <a:ext cx="2710405" cy="7198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ndien nodig, verwijder de bestaande afbeelding. Klik op het pictogram </a:t>
                </a:r>
                <a:b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om een afbeelding in te voegen</a:t>
                </a:r>
                <a:b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nl-NL" sz="1100" i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(zie onderstaand voorbeeld).</a:t>
                </a:r>
              </a:p>
            </p:txBody>
          </p:sp>
          <p:sp>
            <p:nvSpPr>
              <p:cNvPr id="100" name="Tekstvak 33">
                <a:extLst>
                  <a:ext uri="{FF2B5EF4-FFF2-40B4-BE49-F238E27FC236}">
                    <a16:creationId xmlns:a16="http://schemas.microsoft.com/office/drawing/2014/main" xmlns="" id="{912928C8-AA7D-3B44-80B0-300BDF0599C9}"/>
                  </a:ext>
                </a:extLst>
              </p:cNvPr>
              <p:cNvSpPr txBox="1"/>
              <p:nvPr/>
            </p:nvSpPr>
            <p:spPr>
              <a:xfrm>
                <a:off x="12441149" y="2793904"/>
                <a:ext cx="2710405" cy="395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electeer de afbeelding die u wilt invoegen en klik op </a:t>
                </a:r>
                <a:r>
                  <a:rPr lang="nl-NL" sz="1200" b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Invoegen’</a:t>
                </a:r>
              </a:p>
            </p:txBody>
          </p:sp>
          <p:sp>
            <p:nvSpPr>
              <p:cNvPr id="101" name="Ovaal 100">
                <a:extLst>
                  <a:ext uri="{FF2B5EF4-FFF2-40B4-BE49-F238E27FC236}">
                    <a16:creationId xmlns:a16="http://schemas.microsoft.com/office/drawing/2014/main" xmlns="" id="{956B0E4F-C435-3E47-B09B-5326C9AF7F58}"/>
                  </a:ext>
                </a:extLst>
              </p:cNvPr>
              <p:cNvSpPr/>
              <p:nvPr/>
            </p:nvSpPr>
            <p:spPr>
              <a:xfrm>
                <a:off x="12441150" y="379292"/>
                <a:ext cx="327206" cy="32720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sp>
            <p:nvSpPr>
              <p:cNvPr id="102" name="Ovaal 101">
                <a:extLst>
                  <a:ext uri="{FF2B5EF4-FFF2-40B4-BE49-F238E27FC236}">
                    <a16:creationId xmlns:a16="http://schemas.microsoft.com/office/drawing/2014/main" xmlns="" id="{25CE2768-9244-B440-AEB6-0C724533D65A}"/>
                  </a:ext>
                </a:extLst>
              </p:cNvPr>
              <p:cNvSpPr/>
              <p:nvPr/>
            </p:nvSpPr>
            <p:spPr>
              <a:xfrm>
                <a:off x="12441150" y="2337208"/>
                <a:ext cx="327206" cy="32720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cxnSp>
            <p:nvCxnSpPr>
              <p:cNvPr id="103" name="Rechte verbindingslijn 102">
                <a:extLst>
                  <a:ext uri="{FF2B5EF4-FFF2-40B4-BE49-F238E27FC236}">
                    <a16:creationId xmlns:a16="http://schemas.microsoft.com/office/drawing/2014/main" xmlns="" id="{5CB5CAD4-E74F-554A-B0F9-F549EDFCCD84}"/>
                  </a:ext>
                </a:extLst>
              </p:cNvPr>
              <p:cNvCxnSpPr/>
              <p:nvPr/>
            </p:nvCxnSpPr>
            <p:spPr>
              <a:xfrm>
                <a:off x="12441150" y="248176"/>
                <a:ext cx="271040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cxnSp>
            <p:nvCxnSpPr>
              <p:cNvPr id="104" name="Rechte verbindingslijn 103">
                <a:extLst>
                  <a:ext uri="{FF2B5EF4-FFF2-40B4-BE49-F238E27FC236}">
                    <a16:creationId xmlns:a16="http://schemas.microsoft.com/office/drawing/2014/main" xmlns="" id="{7ECF8980-2AF3-D74A-A1A5-8984C49B4DBD}"/>
                  </a:ext>
                </a:extLst>
              </p:cNvPr>
              <p:cNvCxnSpPr/>
              <p:nvPr/>
            </p:nvCxnSpPr>
            <p:spPr>
              <a:xfrm>
                <a:off x="12441149" y="2212830"/>
                <a:ext cx="271040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cxnSp>
            <p:nvCxnSpPr>
              <p:cNvPr id="105" name="Rechte verbindingslijn 104">
                <a:extLst>
                  <a:ext uri="{FF2B5EF4-FFF2-40B4-BE49-F238E27FC236}">
                    <a16:creationId xmlns:a16="http://schemas.microsoft.com/office/drawing/2014/main" xmlns="" id="{8A913544-B33F-4441-A83A-1FEB24B1349A}"/>
                  </a:ext>
                </a:extLst>
              </p:cNvPr>
              <p:cNvCxnSpPr/>
              <p:nvPr/>
            </p:nvCxnSpPr>
            <p:spPr>
              <a:xfrm>
                <a:off x="12444679" y="3732412"/>
                <a:ext cx="270687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pic>
            <p:nvPicPr>
              <p:cNvPr id="106" name="Icoontje afbeelding">
                <a:extLst>
                  <a:ext uri="{FF2B5EF4-FFF2-40B4-BE49-F238E27FC236}">
                    <a16:creationId xmlns:a16="http://schemas.microsoft.com/office/drawing/2014/main" xmlns="" id="{4E8B8CA4-DF13-A242-BBC3-D2801E0882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434693" y="1677764"/>
                <a:ext cx="403210" cy="403210"/>
              </a:xfrm>
              <a:prstGeom prst="rect">
                <a:avLst/>
              </a:prstGeom>
            </p:spPr>
          </p:pic>
          <p:grpSp>
            <p:nvGrpSpPr>
              <p:cNvPr id="107" name="Groep 106">
                <a:extLst>
                  <a:ext uri="{FF2B5EF4-FFF2-40B4-BE49-F238E27FC236}">
                    <a16:creationId xmlns:a16="http://schemas.microsoft.com/office/drawing/2014/main" xmlns="" id="{73E8723D-016F-634D-8534-2ABB01BCE582}"/>
                  </a:ext>
                </a:extLst>
              </p:cNvPr>
              <p:cNvGrpSpPr/>
              <p:nvPr/>
            </p:nvGrpSpPr>
            <p:grpSpPr>
              <a:xfrm>
                <a:off x="12450571" y="3301369"/>
                <a:ext cx="1002992" cy="267962"/>
                <a:chOff x="13560784" y="3471416"/>
                <a:chExt cx="1114138" cy="297656"/>
              </a:xfrm>
            </p:grpSpPr>
            <p:sp>
              <p:nvSpPr>
                <p:cNvPr id="110" name="Afgeronde rechthoek 109">
                  <a:extLst>
                    <a:ext uri="{FF2B5EF4-FFF2-40B4-BE49-F238E27FC236}">
                      <a16:creationId xmlns:a16="http://schemas.microsoft.com/office/drawing/2014/main" xmlns="" id="{FAD2413A-8D15-9A42-AF76-8D0138A7A49D}"/>
                    </a:ext>
                  </a:extLst>
                </p:cNvPr>
                <p:cNvSpPr/>
                <p:nvPr/>
              </p:nvSpPr>
              <p:spPr>
                <a:xfrm>
                  <a:off x="13560784" y="3471416"/>
                  <a:ext cx="1114138" cy="297656"/>
                </a:xfrm>
                <a:prstGeom prst="roundRect">
                  <a:avLst/>
                </a:prstGeom>
                <a:gradFill flip="none" rotWithShape="1">
                  <a:gsLst>
                    <a:gs pos="4000">
                      <a:srgbClr val="00B0F0"/>
                    </a:gs>
                    <a:gs pos="0">
                      <a:srgbClr val="0070C0"/>
                    </a:gs>
                    <a:gs pos="100000">
                      <a:srgbClr val="0070C0"/>
                    </a:gs>
                    <a:gs pos="12000">
                      <a:srgbClr val="D1EAFF"/>
                    </a:gs>
                    <a:gs pos="96000">
                      <a:srgbClr val="00B0F0"/>
                    </a:gs>
                    <a:gs pos="89000">
                      <a:srgbClr val="DDF4FF"/>
                    </a:gs>
                    <a:gs pos="43000">
                      <a:srgbClr val="D1EAFF"/>
                    </a:gs>
                    <a:gs pos="51000">
                      <a:srgbClr val="DDF4FF"/>
                    </a:gs>
                  </a:gsLst>
                  <a:lin ang="16200000" scaled="1"/>
                  <a:tileRect/>
                </a:gradFill>
                <a:ln w="63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 dirty="0">
                    <a:latin typeface="+mn-lt"/>
                  </a:endParaRPr>
                </a:p>
              </p:txBody>
            </p:sp>
            <p:sp>
              <p:nvSpPr>
                <p:cNvPr id="111" name="Tekstvak 110">
                  <a:extLst>
                    <a:ext uri="{FF2B5EF4-FFF2-40B4-BE49-F238E27FC236}">
                      <a16:creationId xmlns:a16="http://schemas.microsoft.com/office/drawing/2014/main" xmlns="" id="{2F63E597-0DAB-E148-ADA6-A75F1BFF5F41}"/>
                    </a:ext>
                  </a:extLst>
                </p:cNvPr>
                <p:cNvSpPr txBox="1"/>
                <p:nvPr/>
              </p:nvSpPr>
              <p:spPr>
                <a:xfrm>
                  <a:off x="13573594" y="3488254"/>
                  <a:ext cx="888311" cy="273506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>
                  <a:defPPr>
                    <a:defRPr lang="nl-NL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900" i="0" u="none" strike="noStrike" kern="0" cap="none" spc="0" normalizeH="0" baseline="0">
                      <a:ln>
                        <a:noFill/>
                      </a:ln>
                      <a:effectLst>
                        <a:outerShdw blurRad="25400" algn="ctr" rotWithShape="0">
                          <a:prstClr val="white"/>
                        </a:outerShdw>
                      </a:effectLst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5pPr>
                  <a:lvl6pPr>
                    <a:defRPr>
                      <a:latin typeface="Arial" charset="0"/>
                      <a:cs typeface="Arial" charset="0"/>
                    </a:defRPr>
                  </a:lvl6pPr>
                  <a:lvl7pPr>
                    <a:defRPr>
                      <a:latin typeface="Arial" charset="0"/>
                      <a:cs typeface="Arial" charset="0"/>
                    </a:defRPr>
                  </a:lvl7pPr>
                  <a:lvl8pPr>
                    <a:defRPr>
                      <a:latin typeface="Arial" charset="0"/>
                      <a:cs typeface="Arial" charset="0"/>
                    </a:defRPr>
                  </a:lvl8pPr>
                  <a:lvl9pPr>
                    <a:defRPr>
                      <a:latin typeface="Arial" charset="0"/>
                      <a:cs typeface="Arial" charset="0"/>
                    </a:defRPr>
                  </a:lvl9pPr>
                </a:lstStyle>
                <a:p>
                  <a:r>
                    <a:rPr lang="nl-NL" sz="1000" noProof="0" dirty="0">
                      <a:solidFill>
                        <a:schemeClr val="accent5"/>
                      </a:solidFill>
                      <a:latin typeface="+mn-lt"/>
                    </a:rPr>
                    <a:t>Invoegen</a:t>
                  </a:r>
                </a:p>
              </p:txBody>
            </p: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xmlns="" id="{3C9467F2-CFE2-AB4D-8F45-A6CD1F35F2E3}"/>
                    </a:ext>
                  </a:extLst>
                </p:cNvPr>
                <p:cNvCxnSpPr/>
                <p:nvPr/>
              </p:nvCxnSpPr>
              <p:spPr>
                <a:xfrm>
                  <a:off x="14461905" y="3507058"/>
                  <a:ext cx="0" cy="224432"/>
                </a:xfrm>
                <a:prstGeom prst="line">
                  <a:avLst/>
                </a:prstGeom>
                <a:ln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3" name="Gelijkbenige driehoek 112">
                  <a:extLst>
                    <a:ext uri="{FF2B5EF4-FFF2-40B4-BE49-F238E27FC236}">
                      <a16:creationId xmlns:a16="http://schemas.microsoft.com/office/drawing/2014/main" xmlns="" id="{59862840-7F87-1443-830A-323DAE4EE23F}"/>
                    </a:ext>
                  </a:extLst>
                </p:cNvPr>
                <p:cNvSpPr/>
                <p:nvPr/>
              </p:nvSpPr>
              <p:spPr>
                <a:xfrm rot="10800000">
                  <a:off x="14518584" y="3600521"/>
                  <a:ext cx="105309" cy="57157"/>
                </a:xfrm>
                <a:prstGeom prst="triangl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noProof="0" dirty="0">
                    <a:latin typeface="+mn-lt"/>
                  </a:endParaRPr>
                </a:p>
              </p:txBody>
            </p:sp>
          </p:grpSp>
          <p:sp>
            <p:nvSpPr>
              <p:cNvPr id="108" name="Tekstvak 33">
                <a:extLst>
                  <a:ext uri="{FF2B5EF4-FFF2-40B4-BE49-F238E27FC236}">
                    <a16:creationId xmlns:a16="http://schemas.microsoft.com/office/drawing/2014/main" xmlns="" id="{36C92ABB-A9D5-B046-82C2-3A5144740692}"/>
                  </a:ext>
                </a:extLst>
              </p:cNvPr>
              <p:cNvSpPr txBox="1"/>
              <p:nvPr userDrawn="1"/>
            </p:nvSpPr>
            <p:spPr>
              <a:xfrm>
                <a:off x="12441149" y="4324894"/>
                <a:ext cx="2710405" cy="131163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ls u de afbeelding wilt schalen of verslepen, ga naar </a:t>
                </a:r>
                <a:r>
                  <a:rPr lang="nl-NL" sz="1200" b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Hulpmiddelen voor afbeeldingen’ </a:t>
                </a: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n klik op </a:t>
                </a:r>
                <a:r>
                  <a:rPr lang="nl-NL" sz="1200" b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Bijsnijden’.</a:t>
                </a:r>
              </a:p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et de witte bolletjes schaalt u de afbeelding, met de zwarte haakjes </a:t>
                </a:r>
              </a:p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chaalt u het afbeeldingskader.</a:t>
                </a:r>
              </a:p>
            </p:txBody>
          </p:sp>
          <p:sp>
            <p:nvSpPr>
              <p:cNvPr id="109" name="Ovaal 108">
                <a:extLst>
                  <a:ext uri="{FF2B5EF4-FFF2-40B4-BE49-F238E27FC236}">
                    <a16:creationId xmlns:a16="http://schemas.microsoft.com/office/drawing/2014/main" xmlns="" id="{F7F437BC-02D3-BE45-A6E5-5D56362320FA}"/>
                  </a:ext>
                </a:extLst>
              </p:cNvPr>
              <p:cNvSpPr/>
              <p:nvPr userDrawn="1"/>
            </p:nvSpPr>
            <p:spPr>
              <a:xfrm>
                <a:off x="12441150" y="3868198"/>
                <a:ext cx="327206" cy="32720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</p:grpSp>
        <p:grpSp>
          <p:nvGrpSpPr>
            <p:cNvPr id="89" name="bijsnijden">
              <a:extLst>
                <a:ext uri="{FF2B5EF4-FFF2-40B4-BE49-F238E27FC236}">
                  <a16:creationId xmlns:a16="http://schemas.microsoft.com/office/drawing/2014/main" xmlns="" id="{E7A86E4D-F007-8241-B06C-E3DE0D978699}"/>
                </a:ext>
              </a:extLst>
            </p:cNvPr>
            <p:cNvGrpSpPr/>
            <p:nvPr userDrawn="1"/>
          </p:nvGrpSpPr>
          <p:grpSpPr>
            <a:xfrm>
              <a:off x="12337391" y="5828002"/>
              <a:ext cx="857410" cy="828260"/>
              <a:chOff x="13104065" y="5655940"/>
              <a:chExt cx="857410" cy="828260"/>
            </a:xfrm>
          </p:grpSpPr>
          <p:grpSp>
            <p:nvGrpSpPr>
              <p:cNvPr id="91" name="Groep 90">
                <a:extLst>
                  <a:ext uri="{FF2B5EF4-FFF2-40B4-BE49-F238E27FC236}">
                    <a16:creationId xmlns:a16="http://schemas.microsoft.com/office/drawing/2014/main" xmlns="" id="{C4D7FE54-F73E-534E-9087-42682841F07F}"/>
                  </a:ext>
                </a:extLst>
              </p:cNvPr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94" name="Rechthoek 93">
                  <a:extLst>
                    <a:ext uri="{FF2B5EF4-FFF2-40B4-BE49-F238E27FC236}">
                      <a16:creationId xmlns:a16="http://schemas.microsoft.com/office/drawing/2014/main" xmlns="" id="{4D665801-C41A-8D43-BF6D-AC6A79F7D56C}"/>
                    </a:ext>
                  </a:extLst>
                </p:cNvPr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accent5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95" name="Afbeelding 94">
                  <a:extLst>
                    <a:ext uri="{FF2B5EF4-FFF2-40B4-BE49-F238E27FC236}">
                      <a16:creationId xmlns:a16="http://schemas.microsoft.com/office/drawing/2014/main" xmlns="" id="{B682BD3A-518D-6244-B5D7-4232E1A9084B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accent5"/>
                  </a:solidFill>
                </a:ln>
              </p:spPr>
            </p:pic>
            <p:sp>
              <p:nvSpPr>
                <p:cNvPr id="96" name="L-vorm 95">
                  <a:extLst>
                    <a:ext uri="{FF2B5EF4-FFF2-40B4-BE49-F238E27FC236}">
                      <a16:creationId xmlns:a16="http://schemas.microsoft.com/office/drawing/2014/main" xmlns="" id="{E111A4B1-DB64-AD49-AEA8-8612DB06BEB0}"/>
                    </a:ext>
                  </a:extLst>
                </p:cNvPr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97" name="L-vorm 96">
                  <a:extLst>
                    <a:ext uri="{FF2B5EF4-FFF2-40B4-BE49-F238E27FC236}">
                      <a16:creationId xmlns:a16="http://schemas.microsoft.com/office/drawing/2014/main" xmlns="" id="{71B0EFC2-D157-2640-BA61-CA6993B74D6A}"/>
                    </a:ext>
                  </a:extLst>
                </p:cNvPr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92" name="Tekstvak 76">
                <a:extLst>
                  <a:ext uri="{FF2B5EF4-FFF2-40B4-BE49-F238E27FC236}">
                    <a16:creationId xmlns:a16="http://schemas.microsoft.com/office/drawing/2014/main" xmlns="" id="{EFFA3A46-D0F5-5544-856F-2914BEF38CD0}"/>
                  </a:ext>
                </a:extLst>
              </p:cNvPr>
              <p:cNvSpPr txBox="1"/>
              <p:nvPr userDrawn="1"/>
            </p:nvSpPr>
            <p:spPr>
              <a:xfrm>
                <a:off x="13104065" y="6172998"/>
                <a:ext cx="857410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1" i="0" u="none" strike="noStrike" kern="0" cap="none" spc="0" normalizeH="0" baseline="0" dirty="0">
                    <a:ln>
                      <a:noFill/>
                    </a:ln>
                    <a:solidFill>
                      <a:schemeClr val="accent5"/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Bijsnijden</a:t>
                </a:r>
              </a:p>
            </p:txBody>
          </p:sp>
          <p:sp>
            <p:nvSpPr>
              <p:cNvPr id="93" name="Rechthoekige driehoek 92">
                <a:extLst>
                  <a:ext uri="{FF2B5EF4-FFF2-40B4-BE49-F238E27FC236}">
                    <a16:creationId xmlns:a16="http://schemas.microsoft.com/office/drawing/2014/main" xmlns="" id="{45B8256C-2C0F-8C48-8661-1198D5AD1E23}"/>
                  </a:ext>
                </a:extLst>
              </p:cNvPr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cs typeface="Segoe UI Light" panose="020B0502040204020203" pitchFamily="34" charset="0"/>
                </a:endParaRPr>
              </a:p>
            </p:txBody>
          </p:sp>
        </p:grpSp>
        <p:cxnSp>
          <p:nvCxnSpPr>
            <p:cNvPr id="90" name="Rechte verbindingslijn 89">
              <a:extLst>
                <a:ext uri="{FF2B5EF4-FFF2-40B4-BE49-F238E27FC236}">
                  <a16:creationId xmlns:a16="http://schemas.microsoft.com/office/drawing/2014/main" xmlns="" id="{584594F5-9A57-2F4F-91BF-42049F01115D}"/>
                </a:ext>
              </a:extLst>
            </p:cNvPr>
            <p:cNvCxnSpPr/>
            <p:nvPr userDrawn="1"/>
          </p:nvCxnSpPr>
          <p:spPr>
            <a:xfrm>
              <a:off x="12446162" y="6863444"/>
              <a:ext cx="2704546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</p:grpSp>
      <p:grpSp>
        <p:nvGrpSpPr>
          <p:cNvPr id="114" name="Instructie Tekst">
            <a:extLst>
              <a:ext uri="{FF2B5EF4-FFF2-40B4-BE49-F238E27FC236}">
                <a16:creationId xmlns:a16="http://schemas.microsoft.com/office/drawing/2014/main" xmlns="" id="{C24CBC27-7178-4143-8CB6-EEFD6AB3DCEC}"/>
              </a:ext>
            </a:extLst>
          </p:cNvPr>
          <p:cNvGrpSpPr/>
          <p:nvPr userDrawn="1"/>
        </p:nvGrpSpPr>
        <p:grpSpPr>
          <a:xfrm>
            <a:off x="-2916113" y="0"/>
            <a:ext cx="2688057" cy="3772106"/>
            <a:chOff x="-2959433" y="-5444"/>
            <a:chExt cx="2688057" cy="3772106"/>
          </a:xfrm>
        </p:grpSpPr>
        <p:sp>
          <p:nvSpPr>
            <p:cNvPr id="115" name="Rechthoek 114">
              <a:extLst>
                <a:ext uri="{FF2B5EF4-FFF2-40B4-BE49-F238E27FC236}">
                  <a16:creationId xmlns:a16="http://schemas.microsoft.com/office/drawing/2014/main" xmlns="" id="{D6B0C5B7-D68C-0144-B222-1B8C5F7BF790}"/>
                </a:ext>
              </a:extLst>
            </p:cNvPr>
            <p:cNvSpPr/>
            <p:nvPr userDrawn="1"/>
          </p:nvSpPr>
          <p:spPr>
            <a:xfrm>
              <a:off x="-2959433" y="-5444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TEKST NIVEAUS</a:t>
              </a:r>
            </a:p>
          </p:txBody>
        </p:sp>
        <p:sp>
          <p:nvSpPr>
            <p:cNvPr id="116" name="Textfield placeholder">
              <a:extLst>
                <a:ext uri="{FF2B5EF4-FFF2-40B4-BE49-F238E27FC236}">
                  <a16:creationId xmlns:a16="http://schemas.microsoft.com/office/drawing/2014/main" xmlns="" id="{D3643CEB-0009-614A-9F39-833ECDC9461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87337" y="2675411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542925" marR="0" lvl="0" indent="-180975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5"/>
                </a:buClr>
                <a:buSzPct val="80000"/>
                <a:buFont typeface="Arial" panose="020B0604020202020204" pitchFamily="34" charset="0"/>
                <a:buChar char="-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b-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#2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117" name="Ovaal 116">
              <a:extLst>
                <a:ext uri="{FF2B5EF4-FFF2-40B4-BE49-F238E27FC236}">
                  <a16:creationId xmlns:a16="http://schemas.microsoft.com/office/drawing/2014/main" xmlns="" id="{4D7F0762-459E-154D-814A-230095A4E468}"/>
                </a:ext>
              </a:extLst>
            </p:cNvPr>
            <p:cNvSpPr/>
            <p:nvPr userDrawn="1"/>
          </p:nvSpPr>
          <p:spPr>
            <a:xfrm>
              <a:off x="-2959433" y="196874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18" name="Ovaal 117">
              <a:extLst>
                <a:ext uri="{FF2B5EF4-FFF2-40B4-BE49-F238E27FC236}">
                  <a16:creationId xmlns:a16="http://schemas.microsoft.com/office/drawing/2014/main" xmlns="" id="{8314EBE3-582F-F746-AD91-0D50528BC91A}"/>
                </a:ext>
              </a:extLst>
            </p:cNvPr>
            <p:cNvSpPr/>
            <p:nvPr userDrawn="1"/>
          </p:nvSpPr>
          <p:spPr>
            <a:xfrm>
              <a:off x="-2959433" y="2322077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9" name="Ovaal 118">
              <a:extLst>
                <a:ext uri="{FF2B5EF4-FFF2-40B4-BE49-F238E27FC236}">
                  <a16:creationId xmlns:a16="http://schemas.microsoft.com/office/drawing/2014/main" xmlns="" id="{7CB06E4A-E699-AC40-807D-65B47BDE40B8}"/>
                </a:ext>
              </a:extLst>
            </p:cNvPr>
            <p:cNvSpPr/>
            <p:nvPr userDrawn="1"/>
          </p:nvSpPr>
          <p:spPr>
            <a:xfrm>
              <a:off x="-2959433" y="267541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20" name="Ovaal 119">
              <a:extLst>
                <a:ext uri="{FF2B5EF4-FFF2-40B4-BE49-F238E27FC236}">
                  <a16:creationId xmlns:a16="http://schemas.microsoft.com/office/drawing/2014/main" xmlns="" id="{2F0865BF-649E-BC4D-B71F-0BE708AB1644}"/>
                </a:ext>
              </a:extLst>
            </p:cNvPr>
            <p:cNvSpPr/>
            <p:nvPr userDrawn="1"/>
          </p:nvSpPr>
          <p:spPr>
            <a:xfrm>
              <a:off x="-2959433" y="3028747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21" name="Textfield placeholder">
              <a:extLst>
                <a:ext uri="{FF2B5EF4-FFF2-40B4-BE49-F238E27FC236}">
                  <a16:creationId xmlns:a16="http://schemas.microsoft.com/office/drawing/2014/main" xmlns="" id="{D52E8825-8C64-8049-AD15-1189F190B9B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1966925"/>
              <a:ext cx="2163709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marR="0" lvl="1" indent="-2286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Helvetica" pitchFamily="2" charset="0"/>
                <a:buChar char="●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122" name="Textfield placeholder">
              <a:extLst>
                <a:ext uri="{FF2B5EF4-FFF2-40B4-BE49-F238E27FC236}">
                  <a16:creationId xmlns:a16="http://schemas.microsoft.com/office/drawing/2014/main" xmlns="" id="{4A23C07F-6A0E-7146-84B9-8B7D113BB67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2322077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marR="0" lvl="2" indent="-174625" algn="l" defTabSz="914400" rtl="0" eaLnBrk="1" fontAlgn="auto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5"/>
                </a:buClr>
                <a:buSzTx/>
                <a:buFont typeface="Arial" panose="020B0604020202020204" pitchFamily="34" charset="0"/>
                <a:buChar char="•"/>
                <a:tabLst>
                  <a:tab pos="4394200" algn="l"/>
                </a:tabLst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b-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#1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123" name="Textfield placeholder">
              <a:extLst>
                <a:ext uri="{FF2B5EF4-FFF2-40B4-BE49-F238E27FC236}">
                  <a16:creationId xmlns:a16="http://schemas.microsoft.com/office/drawing/2014/main" xmlns="" id="{2557A655-AB67-3A45-A40B-A61D9D7E517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3028747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3" indent="0" algn="l" defTabSz="914400" rtl="0" eaLnBrk="1" fontAlgn="auto" latinLnBrk="0" hangingPunct="1">
                <a:lnSpc>
                  <a:spcPts val="17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Leestek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xmlns="" id="{AEF14853-CBE6-B145-A17F-CEC9E34794CB}"/>
                </a:ext>
              </a:extLst>
            </p:cNvPr>
            <p:cNvCxnSpPr/>
            <p:nvPr userDrawn="1"/>
          </p:nvCxnSpPr>
          <p:spPr>
            <a:xfrm>
              <a:off x="-2959100" y="274900"/>
              <a:ext cx="2674470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125" name="Rechte verbindingslijn 124">
              <a:extLst>
                <a:ext uri="{FF2B5EF4-FFF2-40B4-BE49-F238E27FC236}">
                  <a16:creationId xmlns:a16="http://schemas.microsoft.com/office/drawing/2014/main" xmlns="" id="{CBDD5CC8-0ED0-F84D-9099-C4A351AEB62E}"/>
                </a:ext>
              </a:extLst>
            </p:cNvPr>
            <p:cNvCxnSpPr/>
            <p:nvPr userDrawn="1"/>
          </p:nvCxnSpPr>
          <p:spPr>
            <a:xfrm>
              <a:off x="-2959100" y="1841989"/>
              <a:ext cx="2661379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xmlns="" id="{D4F663DA-3BC7-F34C-A157-47DB999BDEB4}"/>
                </a:ext>
              </a:extLst>
            </p:cNvPr>
            <p:cNvCxnSpPr/>
            <p:nvPr userDrawn="1"/>
          </p:nvCxnSpPr>
          <p:spPr>
            <a:xfrm>
              <a:off x="-2959100" y="3766662"/>
              <a:ext cx="2661379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grpSp>
          <p:nvGrpSpPr>
            <p:cNvPr id="127" name="Groep 126">
              <a:extLst>
                <a:ext uri="{FF2B5EF4-FFF2-40B4-BE49-F238E27FC236}">
                  <a16:creationId xmlns:a16="http://schemas.microsoft.com/office/drawing/2014/main" xmlns="" id="{375EFC1D-3C35-B446-AC8F-7D72AE4753ED}"/>
                </a:ext>
              </a:extLst>
            </p:cNvPr>
            <p:cNvGrpSpPr/>
            <p:nvPr userDrawn="1"/>
          </p:nvGrpSpPr>
          <p:grpSpPr>
            <a:xfrm>
              <a:off x="-1948476" y="816741"/>
              <a:ext cx="409108" cy="427699"/>
              <a:chOff x="-1085063" y="758027"/>
              <a:chExt cx="633799" cy="622540"/>
            </a:xfrm>
          </p:grpSpPr>
          <p:sp>
            <p:nvSpPr>
              <p:cNvPr id="176" name="Afgeronde rechthoek 175">
                <a:extLst>
                  <a:ext uri="{FF2B5EF4-FFF2-40B4-BE49-F238E27FC236}">
                    <a16:creationId xmlns:a16="http://schemas.microsoft.com/office/drawing/2014/main" xmlns="" id="{C7AAED56-1258-0B42-AF02-DF8B601EBAD0}"/>
                  </a:ext>
                </a:extLst>
              </p:cNvPr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F291F"/>
                  </a:solidFill>
                  <a:effectLst/>
                  <a:uLnTx/>
                  <a:uFillTx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77" name="Groep 176">
                <a:extLst>
                  <a:ext uri="{FF2B5EF4-FFF2-40B4-BE49-F238E27FC236}">
                    <a16:creationId xmlns:a16="http://schemas.microsoft.com/office/drawing/2014/main" xmlns="" id="{4260B1EB-80F4-4340-A64E-9359FCFF4A34}"/>
                  </a:ext>
                </a:extLst>
              </p:cNvPr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xmlns="" id="{C36DAB8C-103A-464F-974B-CA3C1453DBBE}"/>
                    </a:ext>
                  </a:extLst>
                </p:cNvPr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xmlns="" id="{29B110CB-AB4E-CE47-9E2A-BEFE19F9CA0E}"/>
                    </a:ext>
                  </a:extLst>
                </p:cNvPr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0" name="Rechthoek 179">
                  <a:extLst>
                    <a:ext uri="{FF2B5EF4-FFF2-40B4-BE49-F238E27FC236}">
                      <a16:creationId xmlns:a16="http://schemas.microsoft.com/office/drawing/2014/main" xmlns="" id="{BE5AFD93-D505-9B49-9748-744D941A93B0}"/>
                    </a:ext>
                  </a:extLst>
                </p:cNvPr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1" name="Rechthoek 180">
                  <a:extLst>
                    <a:ext uri="{FF2B5EF4-FFF2-40B4-BE49-F238E27FC236}">
                      <a16:creationId xmlns:a16="http://schemas.microsoft.com/office/drawing/2014/main" xmlns="" id="{8C299FF7-9E0F-2940-AF84-347D86EBC44F}"/>
                    </a:ext>
                  </a:extLst>
                </p:cNvPr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xmlns="" id="{29F53A23-CE71-8249-B439-1BDE7F1BDCF1}"/>
                    </a:ext>
                  </a:extLst>
                </p:cNvPr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3" name="Rechthoek 182">
                  <a:extLst>
                    <a:ext uri="{FF2B5EF4-FFF2-40B4-BE49-F238E27FC236}">
                      <a16:creationId xmlns:a16="http://schemas.microsoft.com/office/drawing/2014/main" xmlns="" id="{5D345CB9-13DE-3448-A036-033B3AA8E896}"/>
                    </a:ext>
                  </a:extLst>
                </p:cNvPr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4" name="Rechthoek 183">
                  <a:extLst>
                    <a:ext uri="{FF2B5EF4-FFF2-40B4-BE49-F238E27FC236}">
                      <a16:creationId xmlns:a16="http://schemas.microsoft.com/office/drawing/2014/main" xmlns="" id="{AA9ED7D9-75DE-DD4C-8397-15CE34EDE3A9}"/>
                    </a:ext>
                  </a:extLst>
                </p:cNvPr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5" name="Rechthoek 184">
                  <a:extLst>
                    <a:ext uri="{FF2B5EF4-FFF2-40B4-BE49-F238E27FC236}">
                      <a16:creationId xmlns:a16="http://schemas.microsoft.com/office/drawing/2014/main" xmlns="" id="{85D9A611-AC3C-9848-BF0D-33BA3AF70E2C}"/>
                    </a:ext>
                  </a:extLst>
                </p:cNvPr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6" name="Rechthoek 185">
                  <a:extLst>
                    <a:ext uri="{FF2B5EF4-FFF2-40B4-BE49-F238E27FC236}">
                      <a16:creationId xmlns:a16="http://schemas.microsoft.com/office/drawing/2014/main" xmlns="" id="{5268C055-3592-714D-9450-873E249F5682}"/>
                    </a:ext>
                  </a:extLst>
                </p:cNvPr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7" name="Rechthoek 186">
                  <a:extLst>
                    <a:ext uri="{FF2B5EF4-FFF2-40B4-BE49-F238E27FC236}">
                      <a16:creationId xmlns:a16="http://schemas.microsoft.com/office/drawing/2014/main" xmlns="" id="{4A2FB520-9B91-E449-BFA0-8B9D2D3F37B8}"/>
                    </a:ext>
                  </a:extLst>
                </p:cNvPr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8" name="Vrije vorm 187">
                  <a:extLst>
                    <a:ext uri="{FF2B5EF4-FFF2-40B4-BE49-F238E27FC236}">
                      <a16:creationId xmlns:a16="http://schemas.microsoft.com/office/drawing/2014/main" xmlns="" id="{BA22F328-DA32-F743-BED0-EA5B791F3166}"/>
                    </a:ext>
                  </a:extLst>
                </p:cNvPr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128" name="Groep 127">
              <a:extLst>
                <a:ext uri="{FF2B5EF4-FFF2-40B4-BE49-F238E27FC236}">
                  <a16:creationId xmlns:a16="http://schemas.microsoft.com/office/drawing/2014/main" xmlns="" id="{9A27EEBC-2C1F-C549-B843-070D48EAF38D}"/>
                </a:ext>
              </a:extLst>
            </p:cNvPr>
            <p:cNvGrpSpPr/>
            <p:nvPr/>
          </p:nvGrpSpPr>
          <p:grpSpPr>
            <a:xfrm>
              <a:off x="-2950232" y="1207835"/>
              <a:ext cx="532929" cy="509563"/>
              <a:chOff x="-2880382" y="802341"/>
              <a:chExt cx="532929" cy="509563"/>
            </a:xfrm>
          </p:grpSpPr>
          <p:sp>
            <p:nvSpPr>
              <p:cNvPr id="154" name="Rechthoek 153">
                <a:extLst>
                  <a:ext uri="{FF2B5EF4-FFF2-40B4-BE49-F238E27FC236}">
                    <a16:creationId xmlns:a16="http://schemas.microsoft.com/office/drawing/2014/main" xmlns="" id="{44CB77BE-C28C-4B48-8776-597256A0C7DD}"/>
                  </a:ext>
                </a:extLst>
              </p:cNvPr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pic>
            <p:nvPicPr>
              <p:cNvPr id="155" name="Picture 2">
                <a:extLst>
                  <a:ext uri="{FF2B5EF4-FFF2-40B4-BE49-F238E27FC236}">
                    <a16:creationId xmlns:a16="http://schemas.microsoft.com/office/drawing/2014/main" xmlns="" id="{3DF88CF1-F7A7-6740-AB1D-058E64F776D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56" name="Picture 3">
                <a:extLst>
                  <a:ext uri="{FF2B5EF4-FFF2-40B4-BE49-F238E27FC236}">
                    <a16:creationId xmlns:a16="http://schemas.microsoft.com/office/drawing/2014/main" xmlns="" id="{CCA6914F-BD05-EE44-95A4-1769991D74D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57" name="Groep 156">
                <a:extLst>
                  <a:ext uri="{FF2B5EF4-FFF2-40B4-BE49-F238E27FC236}">
                    <a16:creationId xmlns:a16="http://schemas.microsoft.com/office/drawing/2014/main" xmlns="" id="{2536988C-C375-5142-9EC2-90B1E2C2EF9E}"/>
                  </a:ext>
                </a:extLst>
              </p:cNvPr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171" name="Rechthoek 170">
                  <a:extLst>
                    <a:ext uri="{FF2B5EF4-FFF2-40B4-BE49-F238E27FC236}">
                      <a16:creationId xmlns:a16="http://schemas.microsoft.com/office/drawing/2014/main" xmlns="" id="{3B9AC00F-E565-DD41-8518-40D44B85789A}"/>
                    </a:ext>
                  </a:extLst>
                </p:cNvPr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2" name="Rechthoek 171">
                  <a:extLst>
                    <a:ext uri="{FF2B5EF4-FFF2-40B4-BE49-F238E27FC236}">
                      <a16:creationId xmlns:a16="http://schemas.microsoft.com/office/drawing/2014/main" xmlns="" id="{CB7C02F3-7FB9-294D-A69D-66DABA99B948}"/>
                    </a:ext>
                  </a:extLst>
                </p:cNvPr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3" name="Rechthoek 172">
                  <a:extLst>
                    <a:ext uri="{FF2B5EF4-FFF2-40B4-BE49-F238E27FC236}">
                      <a16:creationId xmlns:a16="http://schemas.microsoft.com/office/drawing/2014/main" xmlns="" id="{849CEF90-A4A9-6E48-8A4B-B6E2E99F0668}"/>
                    </a:ext>
                  </a:extLst>
                </p:cNvPr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4" name="Rechthoek 173">
                  <a:extLst>
                    <a:ext uri="{FF2B5EF4-FFF2-40B4-BE49-F238E27FC236}">
                      <a16:creationId xmlns:a16="http://schemas.microsoft.com/office/drawing/2014/main" xmlns="" id="{A01D3F45-788F-4D47-B70E-7EBA18A5B799}"/>
                    </a:ext>
                  </a:extLst>
                </p:cNvPr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5" name="Rechthoek 174">
                  <a:extLst>
                    <a:ext uri="{FF2B5EF4-FFF2-40B4-BE49-F238E27FC236}">
                      <a16:creationId xmlns:a16="http://schemas.microsoft.com/office/drawing/2014/main" xmlns="" id="{3A987B5A-F627-6948-8150-8483D87BA4C2}"/>
                    </a:ext>
                  </a:extLst>
                </p:cNvPr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58" name="Groep 157">
                <a:extLst>
                  <a:ext uri="{FF2B5EF4-FFF2-40B4-BE49-F238E27FC236}">
                    <a16:creationId xmlns:a16="http://schemas.microsoft.com/office/drawing/2014/main" xmlns="" id="{C9B503FB-18B5-1B4F-A894-C5370AF0DB5D}"/>
                  </a:ext>
                </a:extLst>
              </p:cNvPr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xmlns="" id="{B979E4DE-6689-3246-8E6E-3B837131779E}"/>
                    </a:ext>
                  </a:extLst>
                </p:cNvPr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166" name="Rechthoek 165">
                    <a:extLst>
                      <a:ext uri="{FF2B5EF4-FFF2-40B4-BE49-F238E27FC236}">
                        <a16:creationId xmlns:a16="http://schemas.microsoft.com/office/drawing/2014/main" xmlns="" id="{8B53764C-8C2F-0D48-8071-D0AF801EE3F8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7" name="Rechthoek 166">
                    <a:extLst>
                      <a:ext uri="{FF2B5EF4-FFF2-40B4-BE49-F238E27FC236}">
                        <a16:creationId xmlns:a16="http://schemas.microsoft.com/office/drawing/2014/main" xmlns="" id="{3D7082FF-9526-F147-8B75-54CF997A0694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8" name="Rechthoek 167">
                    <a:extLst>
                      <a:ext uri="{FF2B5EF4-FFF2-40B4-BE49-F238E27FC236}">
                        <a16:creationId xmlns:a16="http://schemas.microsoft.com/office/drawing/2014/main" xmlns="" id="{2D121388-A23F-0842-BACD-635EB47CF2FE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9" name="Rechthoek 168">
                    <a:extLst>
                      <a:ext uri="{FF2B5EF4-FFF2-40B4-BE49-F238E27FC236}">
                        <a16:creationId xmlns:a16="http://schemas.microsoft.com/office/drawing/2014/main" xmlns="" id="{CD37B09E-F70F-F044-802F-666F346D85F6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70" name="Rechthoek 169">
                    <a:extLst>
                      <a:ext uri="{FF2B5EF4-FFF2-40B4-BE49-F238E27FC236}">
                        <a16:creationId xmlns:a16="http://schemas.microsoft.com/office/drawing/2014/main" xmlns="" id="{E9894073-2735-1C47-ADDD-E400A61F66C9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xmlns="" id="{8F7CF1FF-55F0-8344-BACA-5083D2B35B9A}"/>
                    </a:ext>
                  </a:extLst>
                </p:cNvPr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161" name="Rechthoek 160">
                    <a:extLst>
                      <a:ext uri="{FF2B5EF4-FFF2-40B4-BE49-F238E27FC236}">
                        <a16:creationId xmlns:a16="http://schemas.microsoft.com/office/drawing/2014/main" xmlns="" id="{C8370698-5DA6-0442-9271-D01541F63263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xmlns="" id="{FA61C68B-BE1F-EA48-A120-E6E42E8DF47F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xmlns="" id="{144006E5-13BD-3A47-814B-B264DF05CC3A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xmlns="" id="{FCFB045D-8A48-7E47-AC9F-F2E6EC1B5576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xmlns="" id="{9CB8A193-6DDB-1449-8A9B-136B4D94EDEC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xmlns="" id="{8FBD31E9-8470-0149-B008-5B0E4754321A}"/>
                </a:ext>
              </a:extLst>
            </p:cNvPr>
            <p:cNvGrpSpPr/>
            <p:nvPr userDrawn="1"/>
          </p:nvGrpSpPr>
          <p:grpSpPr>
            <a:xfrm>
              <a:off x="-1948476" y="1281164"/>
              <a:ext cx="413704" cy="427699"/>
              <a:chOff x="-1845083" y="758027"/>
              <a:chExt cx="633799" cy="622540"/>
            </a:xfrm>
          </p:grpSpPr>
          <p:sp>
            <p:nvSpPr>
              <p:cNvPr id="140" name="Afgeronde rechthoek 139">
                <a:extLst>
                  <a:ext uri="{FF2B5EF4-FFF2-40B4-BE49-F238E27FC236}">
                    <a16:creationId xmlns:a16="http://schemas.microsoft.com/office/drawing/2014/main" xmlns="" id="{C2FEE08D-D388-3741-87AF-C3209B4C5BFD}"/>
                  </a:ext>
                </a:extLst>
              </p:cNvPr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F291F"/>
                  </a:solidFill>
                  <a:effectLst/>
                  <a:uLnTx/>
                  <a:uFillTx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41" name="Groep 140">
                <a:extLst>
                  <a:ext uri="{FF2B5EF4-FFF2-40B4-BE49-F238E27FC236}">
                    <a16:creationId xmlns:a16="http://schemas.microsoft.com/office/drawing/2014/main" xmlns="" id="{A288167C-9B07-794F-9D5E-0A585DA111B5}"/>
                  </a:ext>
                </a:extLst>
              </p:cNvPr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xmlns="" id="{2294517B-520C-EF4E-86E9-13B00E98835C}"/>
                    </a:ext>
                  </a:extLst>
                </p:cNvPr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xmlns="" id="{3BFB635C-57A9-234C-B0BF-D5794D2E9BDA}"/>
                    </a:ext>
                  </a:extLst>
                </p:cNvPr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xmlns="" id="{3043CEAF-25B2-314B-A149-944C8AEA7C30}"/>
                    </a:ext>
                  </a:extLst>
                </p:cNvPr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5" name="Rechthoek 144">
                  <a:extLst>
                    <a:ext uri="{FF2B5EF4-FFF2-40B4-BE49-F238E27FC236}">
                      <a16:creationId xmlns:a16="http://schemas.microsoft.com/office/drawing/2014/main" xmlns="" id="{48182DCE-0277-C74E-90F2-5CBC41F364A6}"/>
                    </a:ext>
                  </a:extLst>
                </p:cNvPr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6" name="Rechthoek 145">
                  <a:extLst>
                    <a:ext uri="{FF2B5EF4-FFF2-40B4-BE49-F238E27FC236}">
                      <a16:creationId xmlns:a16="http://schemas.microsoft.com/office/drawing/2014/main" xmlns="" id="{15F0D163-6112-3F42-84F1-1692276A9A41}"/>
                    </a:ext>
                  </a:extLst>
                </p:cNvPr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8" name="Rechthoek 147">
                  <a:extLst>
                    <a:ext uri="{FF2B5EF4-FFF2-40B4-BE49-F238E27FC236}">
                      <a16:creationId xmlns:a16="http://schemas.microsoft.com/office/drawing/2014/main" xmlns="" id="{1D105DB2-AB86-B046-A26C-522DDED04F4B}"/>
                    </a:ext>
                  </a:extLst>
                </p:cNvPr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9" name="Rechthoek 148">
                  <a:extLst>
                    <a:ext uri="{FF2B5EF4-FFF2-40B4-BE49-F238E27FC236}">
                      <a16:creationId xmlns:a16="http://schemas.microsoft.com/office/drawing/2014/main" xmlns="" id="{C59B4296-008C-384B-A90B-E6E417A858DC}"/>
                    </a:ext>
                  </a:extLst>
                </p:cNvPr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0" name="Rechthoek 149">
                  <a:extLst>
                    <a:ext uri="{FF2B5EF4-FFF2-40B4-BE49-F238E27FC236}">
                      <a16:creationId xmlns:a16="http://schemas.microsoft.com/office/drawing/2014/main" xmlns="" id="{3A3DFF80-718D-094B-B051-9B7BFAD96FDC}"/>
                    </a:ext>
                  </a:extLst>
                </p:cNvPr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1" name="Rechthoek 150">
                  <a:extLst>
                    <a:ext uri="{FF2B5EF4-FFF2-40B4-BE49-F238E27FC236}">
                      <a16:creationId xmlns:a16="http://schemas.microsoft.com/office/drawing/2014/main" xmlns="" id="{3122F2CC-4874-6047-9E09-9596E18E6F6E}"/>
                    </a:ext>
                  </a:extLst>
                </p:cNvPr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2" name="Rechthoek 151">
                  <a:extLst>
                    <a:ext uri="{FF2B5EF4-FFF2-40B4-BE49-F238E27FC236}">
                      <a16:creationId xmlns:a16="http://schemas.microsoft.com/office/drawing/2014/main" xmlns="" id="{8729E4F0-F213-AF40-9F15-414165D41521}"/>
                    </a:ext>
                  </a:extLst>
                </p:cNvPr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3" name="Vrije vorm 152">
                  <a:extLst>
                    <a:ext uri="{FF2B5EF4-FFF2-40B4-BE49-F238E27FC236}">
                      <a16:creationId xmlns:a16="http://schemas.microsoft.com/office/drawing/2014/main" xmlns="" id="{41CDE79D-65B8-4447-AD89-4F43D5D6E457}"/>
                    </a:ext>
                  </a:extLst>
                </p:cNvPr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</p:grpSp>
        <p:cxnSp>
          <p:nvCxnSpPr>
            <p:cNvPr id="130" name="Rechte verbindingslijn 129">
              <a:extLst>
                <a:ext uri="{FF2B5EF4-FFF2-40B4-BE49-F238E27FC236}">
                  <a16:creationId xmlns:a16="http://schemas.microsoft.com/office/drawing/2014/main" xmlns="" id="{B889B4ED-4224-7444-8286-2A8FEBF7C104}"/>
                </a:ext>
              </a:extLst>
            </p:cNvPr>
            <p:cNvCxnSpPr>
              <a:stCxn id="156" idx="2"/>
              <a:endCxn id="140" idx="1"/>
            </p:cNvCxnSpPr>
            <p:nvPr userDrawn="1"/>
          </p:nvCxnSpPr>
          <p:spPr>
            <a:xfrm>
              <a:off x="-2814292" y="1441193"/>
              <a:ext cx="865816" cy="53821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headEnd type="oval"/>
            </a:ln>
            <a:effectLst/>
          </p:spPr>
        </p:cxnSp>
        <p:cxnSp>
          <p:nvCxnSpPr>
            <p:cNvPr id="131" name="Rechte verbindingslijn 130">
              <a:extLst>
                <a:ext uri="{FF2B5EF4-FFF2-40B4-BE49-F238E27FC236}">
                  <a16:creationId xmlns:a16="http://schemas.microsoft.com/office/drawing/2014/main" xmlns="" id="{1513FB31-31A4-C548-8CFE-BDCD9C34105C}"/>
                </a:ext>
              </a:extLst>
            </p:cNvPr>
            <p:cNvCxnSpPr>
              <a:endCxn id="176" idx="1"/>
            </p:cNvCxnSpPr>
            <p:nvPr userDrawn="1"/>
          </p:nvCxnSpPr>
          <p:spPr>
            <a:xfrm flipV="1">
              <a:off x="-2453902" y="1030591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headEnd type="oval"/>
            </a:ln>
            <a:effectLst/>
          </p:spPr>
        </p:cxnSp>
        <p:sp>
          <p:nvSpPr>
            <p:cNvPr id="132" name="Textfield placeholder">
              <a:extLst>
                <a:ext uri="{FF2B5EF4-FFF2-40B4-BE49-F238E27FC236}">
                  <a16:creationId xmlns:a16="http://schemas.microsoft.com/office/drawing/2014/main" xmlns="" id="{C0545D28-63E5-0642-B61C-D5FD3C22E72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341598" y="816743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iveau omhoog</a:t>
              </a:r>
            </a:p>
          </p:txBody>
        </p:sp>
        <p:sp>
          <p:nvSpPr>
            <p:cNvPr id="133" name="Textfield placeholder">
              <a:extLst>
                <a:ext uri="{FF2B5EF4-FFF2-40B4-BE49-F238E27FC236}">
                  <a16:creationId xmlns:a16="http://schemas.microsoft.com/office/drawing/2014/main" xmlns="" id="{F9FA4B61-6484-BC49-9507-B043EDE814C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341599" y="1281164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iveau omlaag</a:t>
              </a:r>
            </a:p>
          </p:txBody>
        </p:sp>
        <p:sp>
          <p:nvSpPr>
            <p:cNvPr id="134" name="Ovaal 133">
              <a:extLst>
                <a:ext uri="{FF2B5EF4-FFF2-40B4-BE49-F238E27FC236}">
                  <a16:creationId xmlns:a16="http://schemas.microsoft.com/office/drawing/2014/main" xmlns="" id="{64A0B327-C9FF-D448-A701-2FA2F2F94BDF}"/>
                </a:ext>
              </a:extLst>
            </p:cNvPr>
            <p:cNvSpPr/>
            <p:nvPr userDrawn="1"/>
          </p:nvSpPr>
          <p:spPr>
            <a:xfrm>
              <a:off x="-2959433" y="338208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35" name="Textfield placeholder">
              <a:extLst>
                <a:ext uri="{FF2B5EF4-FFF2-40B4-BE49-F238E27FC236}">
                  <a16:creationId xmlns:a16="http://schemas.microsoft.com/office/drawing/2014/main" xmlns="" id="{C653D646-8243-E242-A3FD-071C8188D20F}"/>
                </a:ext>
              </a:extLst>
            </p:cNvPr>
            <p:cNvSpPr txBox="1">
              <a:spLocks/>
            </p:cNvSpPr>
            <p:nvPr/>
          </p:nvSpPr>
          <p:spPr>
            <a:xfrm>
              <a:off x="-2571950" y="3382082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4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3" indent="0" algn="l" defTabSz="914400" rtl="0" eaLnBrk="1" fontAlgn="auto" latinLnBrk="0" hangingPunct="1">
                <a:lnSpc>
                  <a:spcPts val="17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Kop (20 </a:t>
              </a:r>
              <a:r>
                <a:rPr kumimoji="0" lang="nl-NL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grpSp>
          <p:nvGrpSpPr>
            <p:cNvPr id="136" name="Groep 135">
              <a:extLst>
                <a:ext uri="{FF2B5EF4-FFF2-40B4-BE49-F238E27FC236}">
                  <a16:creationId xmlns:a16="http://schemas.microsoft.com/office/drawing/2014/main" xmlns="" id="{4AA965EC-7ABA-F946-A1C1-45D458435C21}"/>
                </a:ext>
              </a:extLst>
            </p:cNvPr>
            <p:cNvGrpSpPr/>
            <p:nvPr/>
          </p:nvGrpSpPr>
          <p:grpSpPr>
            <a:xfrm>
              <a:off x="-2950232" y="816050"/>
              <a:ext cx="528695" cy="344202"/>
              <a:chOff x="-2880382" y="410556"/>
              <a:chExt cx="528695" cy="344202"/>
            </a:xfrm>
          </p:grpSpPr>
          <p:sp>
            <p:nvSpPr>
              <p:cNvPr id="138" name="Afgeronde rechthoek 137">
                <a:extLst>
                  <a:ext uri="{FF2B5EF4-FFF2-40B4-BE49-F238E27FC236}">
                    <a16:creationId xmlns:a16="http://schemas.microsoft.com/office/drawing/2014/main" xmlns="" id="{27D60E93-C377-E941-88C7-4A71EF49D905}"/>
                  </a:ext>
                </a:extLst>
              </p:cNvPr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sp>
            <p:nvSpPr>
              <p:cNvPr id="139" name="Vrije vorm 138">
                <a:extLst>
                  <a:ext uri="{FF2B5EF4-FFF2-40B4-BE49-F238E27FC236}">
                    <a16:creationId xmlns:a16="http://schemas.microsoft.com/office/drawing/2014/main" xmlns="" id="{25B55F62-9AA3-024D-9AA0-24A67EF56803}"/>
                  </a:ext>
                </a:extLst>
              </p:cNvPr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9525" cap="flat" cmpd="sng" algn="ctr">
                <a:solidFill>
                  <a:srgbClr val="FFFFFF">
                    <a:lumMod val="9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Start</a:t>
                </a:r>
              </a:p>
            </p:txBody>
          </p:sp>
        </p:grpSp>
        <p:sp>
          <p:nvSpPr>
            <p:cNvPr id="137" name="Tekstvak 33">
              <a:extLst>
                <a:ext uri="{FF2B5EF4-FFF2-40B4-BE49-F238E27FC236}">
                  <a16:creationId xmlns:a16="http://schemas.microsoft.com/office/drawing/2014/main" xmlns="" id="{C892ECCA-0D2A-0D40-94A7-ECFF8AC73F5B}"/>
                </a:ext>
              </a:extLst>
            </p:cNvPr>
            <p:cNvSpPr txBox="1"/>
            <p:nvPr userDrawn="1"/>
          </p:nvSpPr>
          <p:spPr>
            <a:xfrm>
              <a:off x="-2959433" y="372104"/>
              <a:ext cx="2679887" cy="45339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a naar de tab </a:t>
              </a:r>
              <a:r>
                <a:rPr kumimoji="0" lang="nl-NL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tart’ </a:t>
              </a:r>
              <a:r>
                <a:rPr kumimoji="0" lang="nl-NL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en vind onderstaande knoppen onder </a:t>
              </a:r>
              <a:r>
                <a:rPr kumimoji="0" lang="nl-NL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‘Alinea’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30844929"/>
      </p:ext>
    </p:extLst>
  </p:cSld>
  <p:clrMapOvr>
    <a:masterClrMapping/>
  </p:clrMapOvr>
  <p:transition spd="slow">
    <p:push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&amp; Beeld (75%/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Tekstvak 202"/>
          <p:cNvSpPr txBox="1"/>
          <p:nvPr userDrawn="1"/>
        </p:nvSpPr>
        <p:spPr>
          <a:xfrm>
            <a:off x="-85057" y="-437946"/>
            <a:ext cx="30015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0" i="0" dirty="0">
                <a:solidFill>
                  <a:schemeClr val="accent5"/>
                </a:solidFill>
                <a:latin typeface="Arial"/>
                <a:cs typeface="Arial"/>
              </a:rPr>
              <a:t>TEKST &amp; BEELD (75% - 25%)</a:t>
            </a:r>
          </a:p>
        </p:txBody>
      </p:sp>
      <p:sp>
        <p:nvSpPr>
          <p:cNvPr id="70" name="Rectangle 2">
            <a:extLst>
              <a:ext uri="{FF2B5EF4-FFF2-40B4-BE49-F238E27FC236}">
                <a16:creationId xmlns:a16="http://schemas.microsoft.com/office/drawing/2014/main" xmlns="" id="{01207518-CDE7-E940-A20D-835AF62E7D7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958" y="908890"/>
            <a:ext cx="6816363" cy="863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Titelstijl van model bewerken</a:t>
            </a:r>
          </a:p>
        </p:txBody>
      </p:sp>
      <p:sp>
        <p:nvSpPr>
          <p:cNvPr id="7" name="Tijdelijke aanduiding voor afbeelding 7">
            <a:extLst>
              <a:ext uri="{FF2B5EF4-FFF2-40B4-BE49-F238E27FC236}">
                <a16:creationId xmlns:a16="http://schemas.microsoft.com/office/drawing/2014/main" xmlns="" id="{6D74924A-46CB-4049-8EC4-802FF0FCC3C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525045" y="908890"/>
            <a:ext cx="4176466" cy="5051676"/>
          </a:xfrm>
          <a:prstGeom prst="roundRect">
            <a:avLst>
              <a:gd name="adj" fmla="val 0"/>
            </a:avLst>
          </a:prstGeom>
          <a:solidFill>
            <a:srgbClr val="EAEAEA"/>
          </a:solidFill>
        </p:spPr>
        <p:txBody>
          <a:bodyPr anchor="ctr"/>
          <a:lstStyle>
            <a:lvl1pPr marL="0" indent="0" algn="ctr">
              <a:lnSpc>
                <a:spcPct val="150000"/>
              </a:lnSpc>
              <a:buNone/>
              <a:defRPr sz="2000" b="0" i="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6" name="Tijdelijke aanduiding voor voettekst 1">
            <a:extLst>
              <a:ext uri="{FF2B5EF4-FFF2-40B4-BE49-F238E27FC236}">
                <a16:creationId xmlns:a16="http://schemas.microsoft.com/office/drawing/2014/main" xmlns="" id="{DA566241-E8EB-744A-8619-350891BE99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958" y="6304235"/>
            <a:ext cx="112355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8" name="Tijdelijke aanduiding voor datum 2">
            <a:extLst>
              <a:ext uri="{FF2B5EF4-FFF2-40B4-BE49-F238E27FC236}">
                <a16:creationId xmlns:a16="http://schemas.microsoft.com/office/drawing/2014/main" xmlns="" id="{12FD8E93-1361-B940-9D47-38983E9ADD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67B0E16-5799-5045-A759-C6BFC0E82660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9" name="Tijdelijke aanduiding voor tekst 2">
            <a:extLst>
              <a:ext uri="{FF2B5EF4-FFF2-40B4-BE49-F238E27FC236}">
                <a16:creationId xmlns:a16="http://schemas.microsoft.com/office/drawing/2014/main" xmlns="" id="{D6DE7F52-E1F6-DF4F-B7E1-B85D7B91B9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5958" y="1983754"/>
            <a:ext cx="6816363" cy="403753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</a:lstStyle>
          <a:p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Eerste niveau</a:t>
            </a:r>
          </a:p>
          <a:p>
            <a:pPr lvl="2"/>
            <a:r>
              <a:rPr lang="nl-NL" dirty="0"/>
              <a:t>Tweede niveau</a:t>
            </a:r>
          </a:p>
        </p:txBody>
      </p:sp>
      <p:grpSp>
        <p:nvGrpSpPr>
          <p:cNvPr id="112" name="Instructie Tekst">
            <a:extLst>
              <a:ext uri="{FF2B5EF4-FFF2-40B4-BE49-F238E27FC236}">
                <a16:creationId xmlns:a16="http://schemas.microsoft.com/office/drawing/2014/main" xmlns="" id="{487DBB16-DFBA-E341-B825-476E690EEA61}"/>
              </a:ext>
            </a:extLst>
          </p:cNvPr>
          <p:cNvGrpSpPr/>
          <p:nvPr userDrawn="1"/>
        </p:nvGrpSpPr>
        <p:grpSpPr>
          <a:xfrm>
            <a:off x="-2916113" y="0"/>
            <a:ext cx="2688057" cy="3772106"/>
            <a:chOff x="-2959433" y="-5444"/>
            <a:chExt cx="2688057" cy="3772106"/>
          </a:xfrm>
        </p:grpSpPr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xmlns="" id="{FD015342-AF56-5246-BBF1-CFE749E49E24}"/>
                </a:ext>
              </a:extLst>
            </p:cNvPr>
            <p:cNvSpPr/>
            <p:nvPr userDrawn="1"/>
          </p:nvSpPr>
          <p:spPr>
            <a:xfrm>
              <a:off x="-2959433" y="-5444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TEKST NIVEAUS</a:t>
              </a:r>
            </a:p>
          </p:txBody>
        </p:sp>
        <p:sp>
          <p:nvSpPr>
            <p:cNvPr id="114" name="Textfield placeholder">
              <a:extLst>
                <a:ext uri="{FF2B5EF4-FFF2-40B4-BE49-F238E27FC236}">
                  <a16:creationId xmlns:a16="http://schemas.microsoft.com/office/drawing/2014/main" xmlns="" id="{1CF0D0A7-7857-2042-A4FB-11353523E8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87337" y="2675411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542925" marR="0" lvl="0" indent="-180975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5"/>
                </a:buClr>
                <a:buSzPct val="80000"/>
                <a:buFont typeface="Arial" panose="020B0604020202020204" pitchFamily="34" charset="0"/>
                <a:buChar char="-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b-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#2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115" name="Ovaal 114">
              <a:extLst>
                <a:ext uri="{FF2B5EF4-FFF2-40B4-BE49-F238E27FC236}">
                  <a16:creationId xmlns:a16="http://schemas.microsoft.com/office/drawing/2014/main" xmlns="" id="{32B6E75E-8D48-3841-A3C9-E6B107D09436}"/>
                </a:ext>
              </a:extLst>
            </p:cNvPr>
            <p:cNvSpPr/>
            <p:nvPr userDrawn="1"/>
          </p:nvSpPr>
          <p:spPr>
            <a:xfrm>
              <a:off x="-2959433" y="196874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xmlns="" id="{DA1955F7-93B8-E34B-B88A-643476D9C618}"/>
                </a:ext>
              </a:extLst>
            </p:cNvPr>
            <p:cNvSpPr/>
            <p:nvPr userDrawn="1"/>
          </p:nvSpPr>
          <p:spPr>
            <a:xfrm>
              <a:off x="-2959433" y="2322077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7" name="Ovaal 116">
              <a:extLst>
                <a:ext uri="{FF2B5EF4-FFF2-40B4-BE49-F238E27FC236}">
                  <a16:creationId xmlns:a16="http://schemas.microsoft.com/office/drawing/2014/main" xmlns="" id="{F6C78181-4DDE-484A-A677-21F438ACCA7B}"/>
                </a:ext>
              </a:extLst>
            </p:cNvPr>
            <p:cNvSpPr/>
            <p:nvPr userDrawn="1"/>
          </p:nvSpPr>
          <p:spPr>
            <a:xfrm>
              <a:off x="-2959433" y="267541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8" name="Ovaal 117">
              <a:extLst>
                <a:ext uri="{FF2B5EF4-FFF2-40B4-BE49-F238E27FC236}">
                  <a16:creationId xmlns:a16="http://schemas.microsoft.com/office/drawing/2014/main" xmlns="" id="{00C7EB53-AAC1-D840-8CA5-AD179B7391CF}"/>
                </a:ext>
              </a:extLst>
            </p:cNvPr>
            <p:cNvSpPr/>
            <p:nvPr userDrawn="1"/>
          </p:nvSpPr>
          <p:spPr>
            <a:xfrm>
              <a:off x="-2959433" y="3028747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9" name="Textfield placeholder">
              <a:extLst>
                <a:ext uri="{FF2B5EF4-FFF2-40B4-BE49-F238E27FC236}">
                  <a16:creationId xmlns:a16="http://schemas.microsoft.com/office/drawing/2014/main" xmlns="" id="{6E0BFC4A-8D5F-B744-A15B-FE3B7BC34F7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1966925"/>
              <a:ext cx="2163709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marR="0" lvl="1" indent="-2286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Helvetica" pitchFamily="2" charset="0"/>
                <a:buChar char="●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120" name="Textfield placeholder">
              <a:extLst>
                <a:ext uri="{FF2B5EF4-FFF2-40B4-BE49-F238E27FC236}">
                  <a16:creationId xmlns:a16="http://schemas.microsoft.com/office/drawing/2014/main" xmlns="" id="{A3120A79-F19D-444D-B4E0-323A6A33F0D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2322077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marR="0" lvl="2" indent="-174625" algn="l" defTabSz="914400" rtl="0" eaLnBrk="1" fontAlgn="auto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5"/>
                </a:buClr>
                <a:buSzTx/>
                <a:buFont typeface="Arial" panose="020B0604020202020204" pitchFamily="34" charset="0"/>
                <a:buChar char="•"/>
                <a:tabLst>
                  <a:tab pos="4394200" algn="l"/>
                </a:tabLst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b-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#1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121" name="Textfield placeholder">
              <a:extLst>
                <a:ext uri="{FF2B5EF4-FFF2-40B4-BE49-F238E27FC236}">
                  <a16:creationId xmlns:a16="http://schemas.microsoft.com/office/drawing/2014/main" xmlns="" id="{6A5B9F16-0E23-994D-AA41-D61192C82F3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3028747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3" indent="0" algn="l" defTabSz="914400" rtl="0" eaLnBrk="1" fontAlgn="auto" latinLnBrk="0" hangingPunct="1">
                <a:lnSpc>
                  <a:spcPts val="17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Leestek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cxnSp>
          <p:nvCxnSpPr>
            <p:cNvPr id="122" name="Rechte verbindingslijn 121">
              <a:extLst>
                <a:ext uri="{FF2B5EF4-FFF2-40B4-BE49-F238E27FC236}">
                  <a16:creationId xmlns:a16="http://schemas.microsoft.com/office/drawing/2014/main" xmlns="" id="{F9599225-85C9-B648-AE1B-64743140C0D8}"/>
                </a:ext>
              </a:extLst>
            </p:cNvPr>
            <p:cNvCxnSpPr/>
            <p:nvPr userDrawn="1"/>
          </p:nvCxnSpPr>
          <p:spPr>
            <a:xfrm>
              <a:off x="-2959100" y="274900"/>
              <a:ext cx="2674470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xmlns="" id="{024AFE1C-EDAF-984A-A4AE-30FCCB76F827}"/>
                </a:ext>
              </a:extLst>
            </p:cNvPr>
            <p:cNvCxnSpPr/>
            <p:nvPr userDrawn="1"/>
          </p:nvCxnSpPr>
          <p:spPr>
            <a:xfrm>
              <a:off x="-2959100" y="1841989"/>
              <a:ext cx="2661379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xmlns="" id="{CCDC6895-2C30-8A48-9479-34DA3322C179}"/>
                </a:ext>
              </a:extLst>
            </p:cNvPr>
            <p:cNvCxnSpPr/>
            <p:nvPr userDrawn="1"/>
          </p:nvCxnSpPr>
          <p:spPr>
            <a:xfrm>
              <a:off x="-2959100" y="3766662"/>
              <a:ext cx="2661379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grpSp>
          <p:nvGrpSpPr>
            <p:cNvPr id="125" name="Groep 124">
              <a:extLst>
                <a:ext uri="{FF2B5EF4-FFF2-40B4-BE49-F238E27FC236}">
                  <a16:creationId xmlns:a16="http://schemas.microsoft.com/office/drawing/2014/main" xmlns="" id="{47BF4968-E32F-2B44-9B94-1866FDE0611D}"/>
                </a:ext>
              </a:extLst>
            </p:cNvPr>
            <p:cNvGrpSpPr/>
            <p:nvPr userDrawn="1"/>
          </p:nvGrpSpPr>
          <p:grpSpPr>
            <a:xfrm>
              <a:off x="-1948476" y="816741"/>
              <a:ext cx="409108" cy="427699"/>
              <a:chOff x="-1085063" y="758027"/>
              <a:chExt cx="633799" cy="622540"/>
            </a:xfrm>
          </p:grpSpPr>
          <p:sp>
            <p:nvSpPr>
              <p:cNvPr id="173" name="Afgeronde rechthoek 172">
                <a:extLst>
                  <a:ext uri="{FF2B5EF4-FFF2-40B4-BE49-F238E27FC236}">
                    <a16:creationId xmlns:a16="http://schemas.microsoft.com/office/drawing/2014/main" xmlns="" id="{C6E425A8-C4C0-5740-8B19-00AEC6F64F3E}"/>
                  </a:ext>
                </a:extLst>
              </p:cNvPr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F291F"/>
                  </a:solidFill>
                  <a:effectLst/>
                  <a:uLnTx/>
                  <a:uFillTx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xmlns="" id="{9DF19B6B-C813-904B-A947-C7C4DE1F89EA}"/>
                  </a:ext>
                </a:extLst>
              </p:cNvPr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175" name="Rechthoek 174">
                  <a:extLst>
                    <a:ext uri="{FF2B5EF4-FFF2-40B4-BE49-F238E27FC236}">
                      <a16:creationId xmlns:a16="http://schemas.microsoft.com/office/drawing/2014/main" xmlns="" id="{3B17BFC9-B77F-8D42-BD4C-78D4900875E2}"/>
                    </a:ext>
                  </a:extLst>
                </p:cNvPr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6" name="Rechthoek 175">
                  <a:extLst>
                    <a:ext uri="{FF2B5EF4-FFF2-40B4-BE49-F238E27FC236}">
                      <a16:creationId xmlns:a16="http://schemas.microsoft.com/office/drawing/2014/main" xmlns="" id="{70EF2439-51CA-B544-831E-7A1B5DADBC66}"/>
                    </a:ext>
                  </a:extLst>
                </p:cNvPr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7" name="Rechthoek 176">
                  <a:extLst>
                    <a:ext uri="{FF2B5EF4-FFF2-40B4-BE49-F238E27FC236}">
                      <a16:creationId xmlns:a16="http://schemas.microsoft.com/office/drawing/2014/main" xmlns="" id="{D185021E-50BE-AE45-A80A-AA1496E0969C}"/>
                    </a:ext>
                  </a:extLst>
                </p:cNvPr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xmlns="" id="{37A23245-5AAC-5640-965F-1F5CDCD75EFB}"/>
                    </a:ext>
                  </a:extLst>
                </p:cNvPr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xmlns="" id="{F7B32CCD-913E-FF4F-A06A-0436B9C77B47}"/>
                    </a:ext>
                  </a:extLst>
                </p:cNvPr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0" name="Rechthoek 179">
                  <a:extLst>
                    <a:ext uri="{FF2B5EF4-FFF2-40B4-BE49-F238E27FC236}">
                      <a16:creationId xmlns:a16="http://schemas.microsoft.com/office/drawing/2014/main" xmlns="" id="{6B8E2C63-EBA5-A04A-A218-31A18E0B245B}"/>
                    </a:ext>
                  </a:extLst>
                </p:cNvPr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1" name="Rechthoek 180">
                  <a:extLst>
                    <a:ext uri="{FF2B5EF4-FFF2-40B4-BE49-F238E27FC236}">
                      <a16:creationId xmlns:a16="http://schemas.microsoft.com/office/drawing/2014/main" xmlns="" id="{2AE49734-63DE-4147-B688-A5C2B9A89916}"/>
                    </a:ext>
                  </a:extLst>
                </p:cNvPr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xmlns="" id="{A950603A-71A8-E047-B8FB-F2B1DB3E2676}"/>
                    </a:ext>
                  </a:extLst>
                </p:cNvPr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3" name="Rechthoek 182">
                  <a:extLst>
                    <a:ext uri="{FF2B5EF4-FFF2-40B4-BE49-F238E27FC236}">
                      <a16:creationId xmlns:a16="http://schemas.microsoft.com/office/drawing/2014/main" xmlns="" id="{1AC9A1BE-D681-E14A-88A7-E9FFA2B171CE}"/>
                    </a:ext>
                  </a:extLst>
                </p:cNvPr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4" name="Rechthoek 183">
                  <a:extLst>
                    <a:ext uri="{FF2B5EF4-FFF2-40B4-BE49-F238E27FC236}">
                      <a16:creationId xmlns:a16="http://schemas.microsoft.com/office/drawing/2014/main" xmlns="" id="{C9A1B2A8-0599-774C-B71D-A6A2C0AD9D4B}"/>
                    </a:ext>
                  </a:extLst>
                </p:cNvPr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5" name="Vrije vorm 184">
                  <a:extLst>
                    <a:ext uri="{FF2B5EF4-FFF2-40B4-BE49-F238E27FC236}">
                      <a16:creationId xmlns:a16="http://schemas.microsoft.com/office/drawing/2014/main" xmlns="" id="{6D50FFDC-2B34-2244-A03D-4593F0F5E7C3}"/>
                    </a:ext>
                  </a:extLst>
                </p:cNvPr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126" name="Groep 125">
              <a:extLst>
                <a:ext uri="{FF2B5EF4-FFF2-40B4-BE49-F238E27FC236}">
                  <a16:creationId xmlns:a16="http://schemas.microsoft.com/office/drawing/2014/main" xmlns="" id="{AFD2B551-95F1-024E-9CD3-B98BBAD820C2}"/>
                </a:ext>
              </a:extLst>
            </p:cNvPr>
            <p:cNvGrpSpPr/>
            <p:nvPr/>
          </p:nvGrpSpPr>
          <p:grpSpPr>
            <a:xfrm>
              <a:off x="-2950232" y="1207835"/>
              <a:ext cx="532929" cy="509563"/>
              <a:chOff x="-2880382" y="802341"/>
              <a:chExt cx="532929" cy="509563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xmlns="" id="{C49FFD5D-74A8-7D4E-9CB5-7C0756DDC745}"/>
                  </a:ext>
                </a:extLst>
              </p:cNvPr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pic>
            <p:nvPicPr>
              <p:cNvPr id="152" name="Picture 2">
                <a:extLst>
                  <a:ext uri="{FF2B5EF4-FFF2-40B4-BE49-F238E27FC236}">
                    <a16:creationId xmlns:a16="http://schemas.microsoft.com/office/drawing/2014/main" xmlns="" id="{A3EC474C-4134-DB42-97D0-0F3126B9841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53" name="Picture 3">
                <a:extLst>
                  <a:ext uri="{FF2B5EF4-FFF2-40B4-BE49-F238E27FC236}">
                    <a16:creationId xmlns:a16="http://schemas.microsoft.com/office/drawing/2014/main" xmlns="" id="{966A34CA-5610-F246-9061-1C044E2A5F5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54" name="Groep 153">
                <a:extLst>
                  <a:ext uri="{FF2B5EF4-FFF2-40B4-BE49-F238E27FC236}">
                    <a16:creationId xmlns:a16="http://schemas.microsoft.com/office/drawing/2014/main" xmlns="" id="{53649C58-3F7E-5B4C-82A8-D855C7227F15}"/>
                  </a:ext>
                </a:extLst>
              </p:cNvPr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168" name="Rechthoek 167">
                  <a:extLst>
                    <a:ext uri="{FF2B5EF4-FFF2-40B4-BE49-F238E27FC236}">
                      <a16:creationId xmlns:a16="http://schemas.microsoft.com/office/drawing/2014/main" xmlns="" id="{FECD1193-A44B-B640-B488-D7837000D0B7}"/>
                    </a:ext>
                  </a:extLst>
                </p:cNvPr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9" name="Rechthoek 168">
                  <a:extLst>
                    <a:ext uri="{FF2B5EF4-FFF2-40B4-BE49-F238E27FC236}">
                      <a16:creationId xmlns:a16="http://schemas.microsoft.com/office/drawing/2014/main" xmlns="" id="{B9ACAF8C-06DC-DD4D-887C-06C8FA4B6A11}"/>
                    </a:ext>
                  </a:extLst>
                </p:cNvPr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0" name="Rechthoek 169">
                  <a:extLst>
                    <a:ext uri="{FF2B5EF4-FFF2-40B4-BE49-F238E27FC236}">
                      <a16:creationId xmlns:a16="http://schemas.microsoft.com/office/drawing/2014/main" xmlns="" id="{562E1544-1492-3244-B5A4-A3969EAFF056}"/>
                    </a:ext>
                  </a:extLst>
                </p:cNvPr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1" name="Rechthoek 170">
                  <a:extLst>
                    <a:ext uri="{FF2B5EF4-FFF2-40B4-BE49-F238E27FC236}">
                      <a16:creationId xmlns:a16="http://schemas.microsoft.com/office/drawing/2014/main" xmlns="" id="{F9B4D111-1333-2F48-8BF3-3678E00C55F4}"/>
                    </a:ext>
                  </a:extLst>
                </p:cNvPr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2" name="Rechthoek 171">
                  <a:extLst>
                    <a:ext uri="{FF2B5EF4-FFF2-40B4-BE49-F238E27FC236}">
                      <a16:creationId xmlns:a16="http://schemas.microsoft.com/office/drawing/2014/main" xmlns="" id="{18223C74-FE8F-864A-B86D-9E2335739E29}"/>
                    </a:ext>
                  </a:extLst>
                </p:cNvPr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55" name="Groep 154">
                <a:extLst>
                  <a:ext uri="{FF2B5EF4-FFF2-40B4-BE49-F238E27FC236}">
                    <a16:creationId xmlns:a16="http://schemas.microsoft.com/office/drawing/2014/main" xmlns="" id="{78BAEEB3-D978-654D-9C1D-B6F5849241A4}"/>
                  </a:ext>
                </a:extLst>
              </p:cNvPr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156" name="Groep 155">
                  <a:extLst>
                    <a:ext uri="{FF2B5EF4-FFF2-40B4-BE49-F238E27FC236}">
                      <a16:creationId xmlns:a16="http://schemas.microsoft.com/office/drawing/2014/main" xmlns="" id="{ABF0BCE3-E966-F041-BCA3-4DBAD5D85003}"/>
                    </a:ext>
                  </a:extLst>
                </p:cNvPr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xmlns="" id="{2ABF637D-7E4F-2E43-A537-955AAAD8E8F4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xmlns="" id="{F9ED1816-825F-7545-B0AB-14A97F2700A8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xmlns="" id="{84548E9D-3910-9E4E-8BFA-1762A5CD2E3A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6" name="Rechthoek 165">
                    <a:extLst>
                      <a:ext uri="{FF2B5EF4-FFF2-40B4-BE49-F238E27FC236}">
                        <a16:creationId xmlns:a16="http://schemas.microsoft.com/office/drawing/2014/main" xmlns="" id="{4E5C2D22-92E9-7F4D-BD1E-D99740FD6A12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7" name="Rechthoek 166">
                    <a:extLst>
                      <a:ext uri="{FF2B5EF4-FFF2-40B4-BE49-F238E27FC236}">
                        <a16:creationId xmlns:a16="http://schemas.microsoft.com/office/drawing/2014/main" xmlns="" id="{6004A8A9-E37E-EE4C-AC30-B6E3CF803581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</p:grpSp>
            <p:grpSp>
              <p:nvGrpSpPr>
                <p:cNvPr id="157" name="Groep 156">
                  <a:extLst>
                    <a:ext uri="{FF2B5EF4-FFF2-40B4-BE49-F238E27FC236}">
                      <a16:creationId xmlns:a16="http://schemas.microsoft.com/office/drawing/2014/main" xmlns="" id="{343C1E26-33B5-144B-8BF1-CFBD8AE6FFD7}"/>
                    </a:ext>
                  </a:extLst>
                </p:cNvPr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158" name="Rechthoek 157">
                    <a:extLst>
                      <a:ext uri="{FF2B5EF4-FFF2-40B4-BE49-F238E27FC236}">
                        <a16:creationId xmlns:a16="http://schemas.microsoft.com/office/drawing/2014/main" xmlns="" id="{8A538F22-846B-3243-B3CE-12452EADB90C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9" name="Rechthoek 158">
                    <a:extLst>
                      <a:ext uri="{FF2B5EF4-FFF2-40B4-BE49-F238E27FC236}">
                        <a16:creationId xmlns:a16="http://schemas.microsoft.com/office/drawing/2014/main" xmlns="" id="{51CB3B8F-DA00-EB46-B2EE-8B322AA054AD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0" name="Rechthoek 159">
                    <a:extLst>
                      <a:ext uri="{FF2B5EF4-FFF2-40B4-BE49-F238E27FC236}">
                        <a16:creationId xmlns:a16="http://schemas.microsoft.com/office/drawing/2014/main" xmlns="" id="{01167D20-20D3-3E42-A69F-56BDDD72F353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1" name="Rechthoek 160">
                    <a:extLst>
                      <a:ext uri="{FF2B5EF4-FFF2-40B4-BE49-F238E27FC236}">
                        <a16:creationId xmlns:a16="http://schemas.microsoft.com/office/drawing/2014/main" xmlns="" id="{DAA58FA3-7340-C049-8E52-072704954912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xmlns="" id="{3121D777-4A90-0848-9F12-3DD9CE655511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grpSp>
          <p:nvGrpSpPr>
            <p:cNvPr id="127" name="Groep 126">
              <a:extLst>
                <a:ext uri="{FF2B5EF4-FFF2-40B4-BE49-F238E27FC236}">
                  <a16:creationId xmlns:a16="http://schemas.microsoft.com/office/drawing/2014/main" xmlns="" id="{E1660A41-092D-1944-971E-F75AAFF2ABB2}"/>
                </a:ext>
              </a:extLst>
            </p:cNvPr>
            <p:cNvGrpSpPr/>
            <p:nvPr userDrawn="1"/>
          </p:nvGrpSpPr>
          <p:grpSpPr>
            <a:xfrm>
              <a:off x="-1948476" y="1281164"/>
              <a:ext cx="413704" cy="427699"/>
              <a:chOff x="-1845083" y="758027"/>
              <a:chExt cx="633799" cy="622540"/>
            </a:xfrm>
          </p:grpSpPr>
          <p:sp>
            <p:nvSpPr>
              <p:cNvPr id="138" name="Afgeronde rechthoek 137">
                <a:extLst>
                  <a:ext uri="{FF2B5EF4-FFF2-40B4-BE49-F238E27FC236}">
                    <a16:creationId xmlns:a16="http://schemas.microsoft.com/office/drawing/2014/main" xmlns="" id="{408D3EFD-F9D2-4843-A5EB-2E49CD36B096}"/>
                  </a:ext>
                </a:extLst>
              </p:cNvPr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F291F"/>
                  </a:solidFill>
                  <a:effectLst/>
                  <a:uLnTx/>
                  <a:uFillTx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9" name="Groep 138">
                <a:extLst>
                  <a:ext uri="{FF2B5EF4-FFF2-40B4-BE49-F238E27FC236}">
                    <a16:creationId xmlns:a16="http://schemas.microsoft.com/office/drawing/2014/main" xmlns="" id="{0FE38B9D-9592-BE46-85E7-04DE11C68C59}"/>
                  </a:ext>
                </a:extLst>
              </p:cNvPr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xmlns="" id="{8B622F22-BDE9-C444-AC7E-A1917A513D36}"/>
                    </a:ext>
                  </a:extLst>
                </p:cNvPr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xmlns="" id="{83EF366B-3E13-1641-8769-64A5CF07296A}"/>
                    </a:ext>
                  </a:extLst>
                </p:cNvPr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xmlns="" id="{87BC38B9-EC65-C741-BD11-94654A66065F}"/>
                    </a:ext>
                  </a:extLst>
                </p:cNvPr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xmlns="" id="{8ABC0DF0-5B7F-CE48-AD9A-BF55A818673B}"/>
                    </a:ext>
                  </a:extLst>
                </p:cNvPr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xmlns="" id="{0BF671D2-9C56-3647-AB53-65501AB562CE}"/>
                    </a:ext>
                  </a:extLst>
                </p:cNvPr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5" name="Rechthoek 144">
                  <a:extLst>
                    <a:ext uri="{FF2B5EF4-FFF2-40B4-BE49-F238E27FC236}">
                      <a16:creationId xmlns:a16="http://schemas.microsoft.com/office/drawing/2014/main" xmlns="" id="{9A7D46F9-E024-4044-A12B-35D6A5B6FED0}"/>
                    </a:ext>
                  </a:extLst>
                </p:cNvPr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6" name="Rechthoek 145">
                  <a:extLst>
                    <a:ext uri="{FF2B5EF4-FFF2-40B4-BE49-F238E27FC236}">
                      <a16:creationId xmlns:a16="http://schemas.microsoft.com/office/drawing/2014/main" xmlns="" id="{49058726-C881-2E45-BD36-9002F43E49CD}"/>
                    </a:ext>
                  </a:extLst>
                </p:cNvPr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7" name="Rechthoek 146">
                  <a:extLst>
                    <a:ext uri="{FF2B5EF4-FFF2-40B4-BE49-F238E27FC236}">
                      <a16:creationId xmlns:a16="http://schemas.microsoft.com/office/drawing/2014/main" xmlns="" id="{90EEEB4E-243D-D94F-B52F-AE0AF67892EB}"/>
                    </a:ext>
                  </a:extLst>
                </p:cNvPr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8" name="Rechthoek 147">
                  <a:extLst>
                    <a:ext uri="{FF2B5EF4-FFF2-40B4-BE49-F238E27FC236}">
                      <a16:creationId xmlns:a16="http://schemas.microsoft.com/office/drawing/2014/main" xmlns="" id="{8C68A682-D916-3948-A9FA-7890606DE6B7}"/>
                    </a:ext>
                  </a:extLst>
                </p:cNvPr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9" name="Rechthoek 148">
                  <a:extLst>
                    <a:ext uri="{FF2B5EF4-FFF2-40B4-BE49-F238E27FC236}">
                      <a16:creationId xmlns:a16="http://schemas.microsoft.com/office/drawing/2014/main" xmlns="" id="{0E0D1052-F8D1-6044-B2A6-AD2C57C38C68}"/>
                    </a:ext>
                  </a:extLst>
                </p:cNvPr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0" name="Vrije vorm 149">
                  <a:extLst>
                    <a:ext uri="{FF2B5EF4-FFF2-40B4-BE49-F238E27FC236}">
                      <a16:creationId xmlns:a16="http://schemas.microsoft.com/office/drawing/2014/main" xmlns="" id="{3FC79DA2-E26C-FD42-983E-2B03C71D7F36}"/>
                    </a:ext>
                  </a:extLst>
                </p:cNvPr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</p:grpSp>
        <p:cxnSp>
          <p:nvCxnSpPr>
            <p:cNvPr id="128" name="Rechte verbindingslijn 127">
              <a:extLst>
                <a:ext uri="{FF2B5EF4-FFF2-40B4-BE49-F238E27FC236}">
                  <a16:creationId xmlns:a16="http://schemas.microsoft.com/office/drawing/2014/main" xmlns="" id="{AD232241-56D4-A94F-A614-D47962F52F7E}"/>
                </a:ext>
              </a:extLst>
            </p:cNvPr>
            <p:cNvCxnSpPr>
              <a:stCxn id="153" idx="2"/>
              <a:endCxn id="138" idx="1"/>
            </p:cNvCxnSpPr>
            <p:nvPr userDrawn="1"/>
          </p:nvCxnSpPr>
          <p:spPr>
            <a:xfrm>
              <a:off x="-2814292" y="1441193"/>
              <a:ext cx="865816" cy="53821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headEnd type="oval"/>
            </a:ln>
            <a:effectLst/>
          </p:spPr>
        </p:cxnSp>
        <p:cxnSp>
          <p:nvCxnSpPr>
            <p:cNvPr id="129" name="Rechte verbindingslijn 128">
              <a:extLst>
                <a:ext uri="{FF2B5EF4-FFF2-40B4-BE49-F238E27FC236}">
                  <a16:creationId xmlns:a16="http://schemas.microsoft.com/office/drawing/2014/main" xmlns="" id="{32B04FC1-AF6B-394E-BF03-A68F73A42C53}"/>
                </a:ext>
              </a:extLst>
            </p:cNvPr>
            <p:cNvCxnSpPr>
              <a:endCxn id="173" idx="1"/>
            </p:cNvCxnSpPr>
            <p:nvPr userDrawn="1"/>
          </p:nvCxnSpPr>
          <p:spPr>
            <a:xfrm flipV="1">
              <a:off x="-2453902" y="1030591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headEnd type="oval"/>
            </a:ln>
            <a:effectLst/>
          </p:spPr>
        </p:cxnSp>
        <p:sp>
          <p:nvSpPr>
            <p:cNvPr id="130" name="Textfield placeholder">
              <a:extLst>
                <a:ext uri="{FF2B5EF4-FFF2-40B4-BE49-F238E27FC236}">
                  <a16:creationId xmlns:a16="http://schemas.microsoft.com/office/drawing/2014/main" xmlns="" id="{E059E953-09E0-2245-A69E-99F86D6ECC6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341598" y="816743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iveau omhoog</a:t>
              </a:r>
            </a:p>
          </p:txBody>
        </p:sp>
        <p:sp>
          <p:nvSpPr>
            <p:cNvPr id="131" name="Textfield placeholder">
              <a:extLst>
                <a:ext uri="{FF2B5EF4-FFF2-40B4-BE49-F238E27FC236}">
                  <a16:creationId xmlns:a16="http://schemas.microsoft.com/office/drawing/2014/main" xmlns="" id="{30EE5845-6DA8-1949-BFFA-C5801AF246D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341599" y="1281164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iveau omlaag</a:t>
              </a:r>
            </a:p>
          </p:txBody>
        </p:sp>
        <p:sp>
          <p:nvSpPr>
            <p:cNvPr id="132" name="Ovaal 131">
              <a:extLst>
                <a:ext uri="{FF2B5EF4-FFF2-40B4-BE49-F238E27FC236}">
                  <a16:creationId xmlns:a16="http://schemas.microsoft.com/office/drawing/2014/main" xmlns="" id="{1A1C80AE-233F-6243-BC5A-A9908BCE65E7}"/>
                </a:ext>
              </a:extLst>
            </p:cNvPr>
            <p:cNvSpPr/>
            <p:nvPr userDrawn="1"/>
          </p:nvSpPr>
          <p:spPr>
            <a:xfrm>
              <a:off x="-2959433" y="338208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33" name="Textfield placeholder">
              <a:extLst>
                <a:ext uri="{FF2B5EF4-FFF2-40B4-BE49-F238E27FC236}">
                  <a16:creationId xmlns:a16="http://schemas.microsoft.com/office/drawing/2014/main" xmlns="" id="{6900721C-3535-A742-B6EE-A441F5BBFD41}"/>
                </a:ext>
              </a:extLst>
            </p:cNvPr>
            <p:cNvSpPr txBox="1">
              <a:spLocks/>
            </p:cNvSpPr>
            <p:nvPr/>
          </p:nvSpPr>
          <p:spPr>
            <a:xfrm>
              <a:off x="-2571950" y="3382082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3" indent="0" algn="l" defTabSz="914400" rtl="0" eaLnBrk="1" fontAlgn="auto" latinLnBrk="0" hangingPunct="1">
                <a:lnSpc>
                  <a:spcPts val="17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Kop (20 </a:t>
              </a:r>
              <a:r>
                <a:rPr kumimoji="0" lang="nl-NL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grpSp>
          <p:nvGrpSpPr>
            <p:cNvPr id="134" name="Groep 133">
              <a:extLst>
                <a:ext uri="{FF2B5EF4-FFF2-40B4-BE49-F238E27FC236}">
                  <a16:creationId xmlns:a16="http://schemas.microsoft.com/office/drawing/2014/main" xmlns="" id="{774DFCDC-B061-BF47-BE22-1C651CA58057}"/>
                </a:ext>
              </a:extLst>
            </p:cNvPr>
            <p:cNvGrpSpPr/>
            <p:nvPr/>
          </p:nvGrpSpPr>
          <p:grpSpPr>
            <a:xfrm>
              <a:off x="-2950232" y="816050"/>
              <a:ext cx="528695" cy="344202"/>
              <a:chOff x="-2880382" y="410556"/>
              <a:chExt cx="528695" cy="344202"/>
            </a:xfrm>
          </p:grpSpPr>
          <p:sp>
            <p:nvSpPr>
              <p:cNvPr id="136" name="Afgeronde rechthoek 135">
                <a:extLst>
                  <a:ext uri="{FF2B5EF4-FFF2-40B4-BE49-F238E27FC236}">
                    <a16:creationId xmlns:a16="http://schemas.microsoft.com/office/drawing/2014/main" xmlns="" id="{91E16B94-06A6-034A-A360-26D94122D0AD}"/>
                  </a:ext>
                </a:extLst>
              </p:cNvPr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sp>
            <p:nvSpPr>
              <p:cNvPr id="137" name="Vrije vorm 136">
                <a:extLst>
                  <a:ext uri="{FF2B5EF4-FFF2-40B4-BE49-F238E27FC236}">
                    <a16:creationId xmlns:a16="http://schemas.microsoft.com/office/drawing/2014/main" xmlns="" id="{525A441D-8E33-B441-86B9-0449EC2AE6EF}"/>
                  </a:ext>
                </a:extLst>
              </p:cNvPr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9525" cap="flat" cmpd="sng" algn="ctr">
                <a:solidFill>
                  <a:srgbClr val="FFFFFF">
                    <a:lumMod val="9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Start</a:t>
                </a:r>
              </a:p>
            </p:txBody>
          </p:sp>
        </p:grpSp>
        <p:sp>
          <p:nvSpPr>
            <p:cNvPr id="135" name="Tekstvak 33">
              <a:extLst>
                <a:ext uri="{FF2B5EF4-FFF2-40B4-BE49-F238E27FC236}">
                  <a16:creationId xmlns:a16="http://schemas.microsoft.com/office/drawing/2014/main" xmlns="" id="{B4832E52-634F-2F47-8A9E-DCF63887B164}"/>
                </a:ext>
              </a:extLst>
            </p:cNvPr>
            <p:cNvSpPr txBox="1"/>
            <p:nvPr userDrawn="1"/>
          </p:nvSpPr>
          <p:spPr>
            <a:xfrm>
              <a:off x="-2959433" y="372104"/>
              <a:ext cx="2679887" cy="45339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a naar de tab </a:t>
              </a:r>
              <a:r>
                <a:rPr kumimoji="0" lang="nl-NL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tart’ </a:t>
              </a:r>
              <a:r>
                <a:rPr kumimoji="0" lang="nl-NL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en vind onderstaande knoppen onder </a:t>
              </a:r>
              <a:r>
                <a:rPr kumimoji="0" lang="nl-NL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‘Alinea’</a:t>
              </a:r>
            </a:p>
          </p:txBody>
        </p:sp>
      </p:grpSp>
      <p:grpSp>
        <p:nvGrpSpPr>
          <p:cNvPr id="186" name="Groep 185">
            <a:extLst>
              <a:ext uri="{FF2B5EF4-FFF2-40B4-BE49-F238E27FC236}">
                <a16:creationId xmlns:a16="http://schemas.microsoft.com/office/drawing/2014/main" xmlns="" id="{A2B099DC-CA74-A34C-90DD-6D2DF44FDCC1}"/>
              </a:ext>
            </a:extLst>
          </p:cNvPr>
          <p:cNvGrpSpPr/>
          <p:nvPr userDrawn="1"/>
        </p:nvGrpSpPr>
        <p:grpSpPr>
          <a:xfrm>
            <a:off x="12337391" y="14897"/>
            <a:ext cx="2814164" cy="6848547"/>
            <a:chOff x="12337391" y="14897"/>
            <a:chExt cx="2814164" cy="6848547"/>
          </a:xfrm>
        </p:grpSpPr>
        <p:grpSp>
          <p:nvGrpSpPr>
            <p:cNvPr id="187" name="Groep 186">
              <a:extLst>
                <a:ext uri="{FF2B5EF4-FFF2-40B4-BE49-F238E27FC236}">
                  <a16:creationId xmlns:a16="http://schemas.microsoft.com/office/drawing/2014/main" xmlns="" id="{463AF19B-0D4E-F147-A724-DF24F9914243}"/>
                </a:ext>
              </a:extLst>
            </p:cNvPr>
            <p:cNvGrpSpPr/>
            <p:nvPr userDrawn="1"/>
          </p:nvGrpSpPr>
          <p:grpSpPr>
            <a:xfrm>
              <a:off x="12434693" y="14897"/>
              <a:ext cx="2716862" cy="5621628"/>
              <a:chOff x="12434693" y="14897"/>
              <a:chExt cx="2716862" cy="5621628"/>
            </a:xfrm>
          </p:grpSpPr>
          <p:sp>
            <p:nvSpPr>
              <p:cNvPr id="197" name="Rechthoek 196">
                <a:extLst>
                  <a:ext uri="{FF2B5EF4-FFF2-40B4-BE49-F238E27FC236}">
                    <a16:creationId xmlns:a16="http://schemas.microsoft.com/office/drawing/2014/main" xmlns="" id="{CEBB5AF7-31F0-4641-83A9-652568B0B62B}"/>
                  </a:ext>
                </a:extLst>
              </p:cNvPr>
              <p:cNvSpPr/>
              <p:nvPr/>
            </p:nvSpPr>
            <p:spPr>
              <a:xfrm>
                <a:off x="12441150" y="14897"/>
                <a:ext cx="2696270" cy="16177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80000"/>
                  </a:lnSpc>
                </a:pPr>
                <a:r>
                  <a:rPr lang="nl-NL" sz="1600" b="1" kern="0" cap="all" baseline="0" noProof="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FBEELDING INVOEGEN</a:t>
                </a:r>
              </a:p>
            </p:txBody>
          </p:sp>
          <p:sp>
            <p:nvSpPr>
              <p:cNvPr id="198" name="Tekstvak 33">
                <a:extLst>
                  <a:ext uri="{FF2B5EF4-FFF2-40B4-BE49-F238E27FC236}">
                    <a16:creationId xmlns:a16="http://schemas.microsoft.com/office/drawing/2014/main" xmlns="" id="{D71E7FC9-C98A-0C45-A68E-EEB98C4352F8}"/>
                  </a:ext>
                </a:extLst>
              </p:cNvPr>
              <p:cNvSpPr txBox="1"/>
              <p:nvPr/>
            </p:nvSpPr>
            <p:spPr>
              <a:xfrm>
                <a:off x="12441149" y="814239"/>
                <a:ext cx="2710405" cy="7198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ndien nodig, verwijder de bestaande afbeelding. Klik op het pictogram </a:t>
                </a:r>
                <a:b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om een afbeelding in te voegen</a:t>
                </a:r>
                <a:b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nl-NL" sz="1100" i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(zie onderstaand voorbeeld).</a:t>
                </a:r>
              </a:p>
            </p:txBody>
          </p:sp>
          <p:sp>
            <p:nvSpPr>
              <p:cNvPr id="199" name="Tekstvak 33">
                <a:extLst>
                  <a:ext uri="{FF2B5EF4-FFF2-40B4-BE49-F238E27FC236}">
                    <a16:creationId xmlns:a16="http://schemas.microsoft.com/office/drawing/2014/main" xmlns="" id="{2AFB9454-0844-5247-AE7B-8606113D599B}"/>
                  </a:ext>
                </a:extLst>
              </p:cNvPr>
              <p:cNvSpPr txBox="1"/>
              <p:nvPr/>
            </p:nvSpPr>
            <p:spPr>
              <a:xfrm>
                <a:off x="12441149" y="2793904"/>
                <a:ext cx="2710405" cy="395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electeer de afbeelding die u wilt invoegen en klik op </a:t>
                </a:r>
                <a:r>
                  <a:rPr lang="nl-NL" sz="1200" b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Invoegen’</a:t>
                </a:r>
              </a:p>
            </p:txBody>
          </p:sp>
          <p:sp>
            <p:nvSpPr>
              <p:cNvPr id="200" name="Ovaal 199">
                <a:extLst>
                  <a:ext uri="{FF2B5EF4-FFF2-40B4-BE49-F238E27FC236}">
                    <a16:creationId xmlns:a16="http://schemas.microsoft.com/office/drawing/2014/main" xmlns="" id="{1118E438-3D7D-9E4F-BF02-16E6AA0B4073}"/>
                  </a:ext>
                </a:extLst>
              </p:cNvPr>
              <p:cNvSpPr/>
              <p:nvPr/>
            </p:nvSpPr>
            <p:spPr>
              <a:xfrm>
                <a:off x="12441150" y="379292"/>
                <a:ext cx="327206" cy="32720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sp>
            <p:nvSpPr>
              <p:cNvPr id="201" name="Ovaal 200">
                <a:extLst>
                  <a:ext uri="{FF2B5EF4-FFF2-40B4-BE49-F238E27FC236}">
                    <a16:creationId xmlns:a16="http://schemas.microsoft.com/office/drawing/2014/main" xmlns="" id="{44E77B60-1441-854F-AD7B-B5C71BA1530E}"/>
                  </a:ext>
                </a:extLst>
              </p:cNvPr>
              <p:cNvSpPr/>
              <p:nvPr/>
            </p:nvSpPr>
            <p:spPr>
              <a:xfrm>
                <a:off x="12441150" y="2337208"/>
                <a:ext cx="327206" cy="32720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cxnSp>
            <p:nvCxnSpPr>
              <p:cNvPr id="202" name="Rechte verbindingslijn 201">
                <a:extLst>
                  <a:ext uri="{FF2B5EF4-FFF2-40B4-BE49-F238E27FC236}">
                    <a16:creationId xmlns:a16="http://schemas.microsoft.com/office/drawing/2014/main" xmlns="" id="{506608D7-FB02-1745-A58D-55F56BE33C78}"/>
                  </a:ext>
                </a:extLst>
              </p:cNvPr>
              <p:cNvCxnSpPr/>
              <p:nvPr/>
            </p:nvCxnSpPr>
            <p:spPr>
              <a:xfrm>
                <a:off x="12441150" y="248176"/>
                <a:ext cx="271040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cxnSp>
            <p:nvCxnSpPr>
              <p:cNvPr id="204" name="Rechte verbindingslijn 203">
                <a:extLst>
                  <a:ext uri="{FF2B5EF4-FFF2-40B4-BE49-F238E27FC236}">
                    <a16:creationId xmlns:a16="http://schemas.microsoft.com/office/drawing/2014/main" xmlns="" id="{C7F3F15F-BC3E-9143-B599-C8783629C591}"/>
                  </a:ext>
                </a:extLst>
              </p:cNvPr>
              <p:cNvCxnSpPr/>
              <p:nvPr/>
            </p:nvCxnSpPr>
            <p:spPr>
              <a:xfrm>
                <a:off x="12441149" y="2212830"/>
                <a:ext cx="271040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cxnSp>
            <p:nvCxnSpPr>
              <p:cNvPr id="205" name="Rechte verbindingslijn 204">
                <a:extLst>
                  <a:ext uri="{FF2B5EF4-FFF2-40B4-BE49-F238E27FC236}">
                    <a16:creationId xmlns:a16="http://schemas.microsoft.com/office/drawing/2014/main" xmlns="" id="{62E3D263-2E31-3F4E-9380-FBBFB9A32D45}"/>
                  </a:ext>
                </a:extLst>
              </p:cNvPr>
              <p:cNvCxnSpPr/>
              <p:nvPr/>
            </p:nvCxnSpPr>
            <p:spPr>
              <a:xfrm>
                <a:off x="12444679" y="3732412"/>
                <a:ext cx="270687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pic>
            <p:nvPicPr>
              <p:cNvPr id="206" name="Icoontje afbeelding">
                <a:extLst>
                  <a:ext uri="{FF2B5EF4-FFF2-40B4-BE49-F238E27FC236}">
                    <a16:creationId xmlns:a16="http://schemas.microsoft.com/office/drawing/2014/main" xmlns="" id="{41501ED5-E787-7C40-8A06-68F585611B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434693" y="1677764"/>
                <a:ext cx="403210" cy="403210"/>
              </a:xfrm>
              <a:prstGeom prst="rect">
                <a:avLst/>
              </a:prstGeom>
            </p:spPr>
          </p:pic>
          <p:grpSp>
            <p:nvGrpSpPr>
              <p:cNvPr id="207" name="Groep 206">
                <a:extLst>
                  <a:ext uri="{FF2B5EF4-FFF2-40B4-BE49-F238E27FC236}">
                    <a16:creationId xmlns:a16="http://schemas.microsoft.com/office/drawing/2014/main" xmlns="" id="{7E133F2E-E7DF-694C-8CF9-0DF284E556C4}"/>
                  </a:ext>
                </a:extLst>
              </p:cNvPr>
              <p:cNvGrpSpPr/>
              <p:nvPr/>
            </p:nvGrpSpPr>
            <p:grpSpPr>
              <a:xfrm>
                <a:off x="12450571" y="3301369"/>
                <a:ext cx="1002992" cy="267962"/>
                <a:chOff x="13560784" y="3471416"/>
                <a:chExt cx="1114138" cy="297656"/>
              </a:xfrm>
            </p:grpSpPr>
            <p:sp>
              <p:nvSpPr>
                <p:cNvPr id="210" name="Afgeronde rechthoek 209">
                  <a:extLst>
                    <a:ext uri="{FF2B5EF4-FFF2-40B4-BE49-F238E27FC236}">
                      <a16:creationId xmlns:a16="http://schemas.microsoft.com/office/drawing/2014/main" xmlns="" id="{0C660C37-1669-A54A-A445-CBEA1343977A}"/>
                    </a:ext>
                  </a:extLst>
                </p:cNvPr>
                <p:cNvSpPr/>
                <p:nvPr/>
              </p:nvSpPr>
              <p:spPr>
                <a:xfrm>
                  <a:off x="13560784" y="3471416"/>
                  <a:ext cx="1114138" cy="297656"/>
                </a:xfrm>
                <a:prstGeom prst="roundRect">
                  <a:avLst/>
                </a:prstGeom>
                <a:gradFill flip="none" rotWithShape="1">
                  <a:gsLst>
                    <a:gs pos="4000">
                      <a:srgbClr val="00B0F0"/>
                    </a:gs>
                    <a:gs pos="0">
                      <a:srgbClr val="0070C0"/>
                    </a:gs>
                    <a:gs pos="100000">
                      <a:srgbClr val="0070C0"/>
                    </a:gs>
                    <a:gs pos="12000">
                      <a:srgbClr val="D1EAFF"/>
                    </a:gs>
                    <a:gs pos="96000">
                      <a:srgbClr val="00B0F0"/>
                    </a:gs>
                    <a:gs pos="89000">
                      <a:srgbClr val="DDF4FF"/>
                    </a:gs>
                    <a:gs pos="43000">
                      <a:srgbClr val="D1EAFF"/>
                    </a:gs>
                    <a:gs pos="51000">
                      <a:srgbClr val="DDF4FF"/>
                    </a:gs>
                  </a:gsLst>
                  <a:lin ang="16200000" scaled="1"/>
                  <a:tileRect/>
                </a:gradFill>
                <a:ln w="63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 dirty="0">
                    <a:latin typeface="+mn-lt"/>
                  </a:endParaRPr>
                </a:p>
              </p:txBody>
            </p:sp>
            <p:sp>
              <p:nvSpPr>
                <p:cNvPr id="211" name="Tekstvak 210">
                  <a:extLst>
                    <a:ext uri="{FF2B5EF4-FFF2-40B4-BE49-F238E27FC236}">
                      <a16:creationId xmlns:a16="http://schemas.microsoft.com/office/drawing/2014/main" xmlns="" id="{9606062A-3042-8C49-8348-7B101400737C}"/>
                    </a:ext>
                  </a:extLst>
                </p:cNvPr>
                <p:cNvSpPr txBox="1"/>
                <p:nvPr/>
              </p:nvSpPr>
              <p:spPr>
                <a:xfrm>
                  <a:off x="13573594" y="3488254"/>
                  <a:ext cx="888311" cy="273506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>
                  <a:defPPr>
                    <a:defRPr lang="nl-NL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900" i="0" u="none" strike="noStrike" kern="0" cap="none" spc="0" normalizeH="0" baseline="0">
                      <a:ln>
                        <a:noFill/>
                      </a:ln>
                      <a:effectLst>
                        <a:outerShdw blurRad="25400" algn="ctr" rotWithShape="0">
                          <a:prstClr val="white"/>
                        </a:outerShdw>
                      </a:effectLst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5pPr>
                  <a:lvl6pPr>
                    <a:defRPr>
                      <a:latin typeface="Arial" charset="0"/>
                      <a:cs typeface="Arial" charset="0"/>
                    </a:defRPr>
                  </a:lvl6pPr>
                  <a:lvl7pPr>
                    <a:defRPr>
                      <a:latin typeface="Arial" charset="0"/>
                      <a:cs typeface="Arial" charset="0"/>
                    </a:defRPr>
                  </a:lvl7pPr>
                  <a:lvl8pPr>
                    <a:defRPr>
                      <a:latin typeface="Arial" charset="0"/>
                      <a:cs typeface="Arial" charset="0"/>
                    </a:defRPr>
                  </a:lvl8pPr>
                  <a:lvl9pPr>
                    <a:defRPr>
                      <a:latin typeface="Arial" charset="0"/>
                      <a:cs typeface="Arial" charset="0"/>
                    </a:defRPr>
                  </a:lvl9pPr>
                </a:lstStyle>
                <a:p>
                  <a:r>
                    <a:rPr lang="nl-NL" sz="1000" noProof="0" dirty="0">
                      <a:solidFill>
                        <a:schemeClr val="accent5"/>
                      </a:solidFill>
                      <a:latin typeface="+mn-lt"/>
                    </a:rPr>
                    <a:t>Invoegen</a:t>
                  </a:r>
                </a:p>
              </p:txBody>
            </p:sp>
            <p:cxnSp>
              <p:nvCxnSpPr>
                <p:cNvPr id="212" name="Rechte verbindingslijn 211">
                  <a:extLst>
                    <a:ext uri="{FF2B5EF4-FFF2-40B4-BE49-F238E27FC236}">
                      <a16:creationId xmlns:a16="http://schemas.microsoft.com/office/drawing/2014/main" xmlns="" id="{C948E63E-0871-6848-B13D-D55D2F0701E2}"/>
                    </a:ext>
                  </a:extLst>
                </p:cNvPr>
                <p:cNvCxnSpPr/>
                <p:nvPr/>
              </p:nvCxnSpPr>
              <p:spPr>
                <a:xfrm>
                  <a:off x="14461905" y="3507058"/>
                  <a:ext cx="0" cy="224432"/>
                </a:xfrm>
                <a:prstGeom prst="line">
                  <a:avLst/>
                </a:prstGeom>
                <a:ln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3" name="Gelijkbenige driehoek 112">
                  <a:extLst>
                    <a:ext uri="{FF2B5EF4-FFF2-40B4-BE49-F238E27FC236}">
                      <a16:creationId xmlns:a16="http://schemas.microsoft.com/office/drawing/2014/main" xmlns="" id="{B5E4EDD5-6AF0-924B-BA8B-2AC658EDD5F9}"/>
                    </a:ext>
                  </a:extLst>
                </p:cNvPr>
                <p:cNvSpPr/>
                <p:nvPr/>
              </p:nvSpPr>
              <p:spPr>
                <a:xfrm rot="10800000">
                  <a:off x="14518584" y="3600521"/>
                  <a:ext cx="105309" cy="57157"/>
                </a:xfrm>
                <a:prstGeom prst="triangl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noProof="0" dirty="0">
                    <a:latin typeface="+mn-lt"/>
                  </a:endParaRPr>
                </a:p>
              </p:txBody>
            </p:sp>
          </p:grpSp>
          <p:sp>
            <p:nvSpPr>
              <p:cNvPr id="208" name="Tekstvak 33">
                <a:extLst>
                  <a:ext uri="{FF2B5EF4-FFF2-40B4-BE49-F238E27FC236}">
                    <a16:creationId xmlns:a16="http://schemas.microsoft.com/office/drawing/2014/main" xmlns="" id="{A0F9D287-BBE7-4D44-A7CB-02FE17BD4769}"/>
                  </a:ext>
                </a:extLst>
              </p:cNvPr>
              <p:cNvSpPr txBox="1"/>
              <p:nvPr userDrawn="1"/>
            </p:nvSpPr>
            <p:spPr>
              <a:xfrm>
                <a:off x="12441149" y="4324894"/>
                <a:ext cx="2710405" cy="131163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ls u de afbeelding wilt schalen of verslepen, ga naar </a:t>
                </a:r>
                <a:r>
                  <a:rPr lang="nl-NL" sz="1200" b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Hulpmiddelen voor afbeeldingen’ </a:t>
                </a: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n klik op </a:t>
                </a:r>
                <a:r>
                  <a:rPr lang="nl-NL" sz="1200" b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Bijsnijden’.</a:t>
                </a:r>
              </a:p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et de witte bolletjes schaalt u de afbeelding, met de zwarte haakjes </a:t>
                </a:r>
              </a:p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chaalt u het afbeeldingskader.</a:t>
                </a:r>
              </a:p>
            </p:txBody>
          </p:sp>
          <p:sp>
            <p:nvSpPr>
              <p:cNvPr id="209" name="Ovaal 208">
                <a:extLst>
                  <a:ext uri="{FF2B5EF4-FFF2-40B4-BE49-F238E27FC236}">
                    <a16:creationId xmlns:a16="http://schemas.microsoft.com/office/drawing/2014/main" xmlns="" id="{EBFD591A-8866-1C48-B06D-A35028D6C8ED}"/>
                  </a:ext>
                </a:extLst>
              </p:cNvPr>
              <p:cNvSpPr/>
              <p:nvPr userDrawn="1"/>
            </p:nvSpPr>
            <p:spPr>
              <a:xfrm>
                <a:off x="12441150" y="3868198"/>
                <a:ext cx="327206" cy="32720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</p:grpSp>
        <p:grpSp>
          <p:nvGrpSpPr>
            <p:cNvPr id="188" name="bijsnijden">
              <a:extLst>
                <a:ext uri="{FF2B5EF4-FFF2-40B4-BE49-F238E27FC236}">
                  <a16:creationId xmlns:a16="http://schemas.microsoft.com/office/drawing/2014/main" xmlns="" id="{20AB84DF-1B80-3B46-956B-84FE5BDE38E7}"/>
                </a:ext>
              </a:extLst>
            </p:cNvPr>
            <p:cNvGrpSpPr/>
            <p:nvPr userDrawn="1"/>
          </p:nvGrpSpPr>
          <p:grpSpPr>
            <a:xfrm>
              <a:off x="12337391" y="5828002"/>
              <a:ext cx="857410" cy="828260"/>
              <a:chOff x="13104065" y="5655940"/>
              <a:chExt cx="857410" cy="828260"/>
            </a:xfrm>
          </p:grpSpPr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xmlns="" id="{6B789DE5-6EF8-EE43-BEF9-F566321759CB}"/>
                  </a:ext>
                </a:extLst>
              </p:cNvPr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xmlns="" id="{E0CC1606-6E6B-4E4B-B93E-962B17CA82DA}"/>
                    </a:ext>
                  </a:extLst>
                </p:cNvPr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accent5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194" name="Afbeelding 193">
                  <a:extLst>
                    <a:ext uri="{FF2B5EF4-FFF2-40B4-BE49-F238E27FC236}">
                      <a16:creationId xmlns:a16="http://schemas.microsoft.com/office/drawing/2014/main" xmlns="" id="{BD9AB487-16E7-E940-AF67-58B1E69D8B7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accent5"/>
                  </a:solidFill>
                </a:ln>
              </p:spPr>
            </p:pic>
            <p:sp>
              <p:nvSpPr>
                <p:cNvPr id="195" name="L-vorm 194">
                  <a:extLst>
                    <a:ext uri="{FF2B5EF4-FFF2-40B4-BE49-F238E27FC236}">
                      <a16:creationId xmlns:a16="http://schemas.microsoft.com/office/drawing/2014/main" xmlns="" id="{7DF7BBFA-EA87-CB40-A6F5-7177FF6B587B}"/>
                    </a:ext>
                  </a:extLst>
                </p:cNvPr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96" name="L-vorm 195">
                  <a:extLst>
                    <a:ext uri="{FF2B5EF4-FFF2-40B4-BE49-F238E27FC236}">
                      <a16:creationId xmlns:a16="http://schemas.microsoft.com/office/drawing/2014/main" xmlns="" id="{BB77F224-3419-E849-AE15-CF4A52ABB2F4}"/>
                    </a:ext>
                  </a:extLst>
                </p:cNvPr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191" name="Tekstvak 76">
                <a:extLst>
                  <a:ext uri="{FF2B5EF4-FFF2-40B4-BE49-F238E27FC236}">
                    <a16:creationId xmlns:a16="http://schemas.microsoft.com/office/drawing/2014/main" xmlns="" id="{9C90E93E-465F-5F4B-B533-D4CF65F5502F}"/>
                  </a:ext>
                </a:extLst>
              </p:cNvPr>
              <p:cNvSpPr txBox="1"/>
              <p:nvPr userDrawn="1"/>
            </p:nvSpPr>
            <p:spPr>
              <a:xfrm>
                <a:off x="13104065" y="6172998"/>
                <a:ext cx="857410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1" i="0" u="none" strike="noStrike" kern="0" cap="none" spc="0" normalizeH="0" baseline="0" dirty="0">
                    <a:ln>
                      <a:noFill/>
                    </a:ln>
                    <a:solidFill>
                      <a:schemeClr val="accent5"/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Bijsnijden</a:t>
                </a:r>
              </a:p>
            </p:txBody>
          </p:sp>
          <p:sp>
            <p:nvSpPr>
              <p:cNvPr id="192" name="Rechthoekige driehoek 191">
                <a:extLst>
                  <a:ext uri="{FF2B5EF4-FFF2-40B4-BE49-F238E27FC236}">
                    <a16:creationId xmlns:a16="http://schemas.microsoft.com/office/drawing/2014/main" xmlns="" id="{345E092C-562A-CB4D-9952-61A72F1759B2}"/>
                  </a:ext>
                </a:extLst>
              </p:cNvPr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cs typeface="Segoe UI Light" panose="020B0502040204020203" pitchFamily="34" charset="0"/>
                </a:endParaRPr>
              </a:p>
            </p:txBody>
          </p:sp>
        </p:grpSp>
        <p:cxnSp>
          <p:nvCxnSpPr>
            <p:cNvPr id="189" name="Rechte verbindingslijn 188">
              <a:extLst>
                <a:ext uri="{FF2B5EF4-FFF2-40B4-BE49-F238E27FC236}">
                  <a16:creationId xmlns:a16="http://schemas.microsoft.com/office/drawing/2014/main" xmlns="" id="{7B282E4B-7AF5-3F45-8655-8C930979F184}"/>
                </a:ext>
              </a:extLst>
            </p:cNvPr>
            <p:cNvCxnSpPr/>
            <p:nvPr userDrawn="1"/>
          </p:nvCxnSpPr>
          <p:spPr>
            <a:xfrm>
              <a:off x="12446162" y="6863444"/>
              <a:ext cx="2704546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35141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 &amp; Tekst (75%/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Tekstvak 214"/>
          <p:cNvSpPr txBox="1"/>
          <p:nvPr userDrawn="1"/>
        </p:nvSpPr>
        <p:spPr>
          <a:xfrm>
            <a:off x="-85057" y="-437946"/>
            <a:ext cx="30015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0" i="0" dirty="0">
                <a:solidFill>
                  <a:schemeClr val="accent5"/>
                </a:solidFill>
                <a:latin typeface="Arial"/>
                <a:cs typeface="Arial"/>
              </a:rPr>
              <a:t>BEELD &amp; TEKST (75% - 25%)</a:t>
            </a:r>
          </a:p>
        </p:txBody>
      </p:sp>
      <p:sp>
        <p:nvSpPr>
          <p:cNvPr id="70" name="Rectangle 2">
            <a:extLst>
              <a:ext uri="{FF2B5EF4-FFF2-40B4-BE49-F238E27FC236}">
                <a16:creationId xmlns:a16="http://schemas.microsoft.com/office/drawing/2014/main" xmlns="" id="{5821667F-4784-CB4C-A6A8-6E8C94B1A28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7597055" y="908719"/>
            <a:ext cx="4106760" cy="936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Titelstijl van model bewerken</a:t>
            </a:r>
          </a:p>
        </p:txBody>
      </p:sp>
      <p:sp>
        <p:nvSpPr>
          <p:cNvPr id="7" name="Tijdelijke aanduiding voor afbeelding 7">
            <a:extLst>
              <a:ext uri="{FF2B5EF4-FFF2-40B4-BE49-F238E27FC236}">
                <a16:creationId xmlns:a16="http://schemas.microsoft.com/office/drawing/2014/main" xmlns="" id="{B7B5399E-8757-D549-8E34-F4119260722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8262" y="908890"/>
            <a:ext cx="6875077" cy="5051676"/>
          </a:xfrm>
          <a:prstGeom prst="roundRect">
            <a:avLst>
              <a:gd name="adj" fmla="val 0"/>
            </a:avLst>
          </a:prstGeom>
          <a:solidFill>
            <a:srgbClr val="EAEAEA"/>
          </a:solidFill>
        </p:spPr>
        <p:txBody>
          <a:bodyPr anchor="ctr"/>
          <a:lstStyle>
            <a:lvl1pPr marL="0" indent="0" algn="ctr">
              <a:lnSpc>
                <a:spcPct val="150000"/>
              </a:lnSpc>
              <a:buNone/>
              <a:defRPr sz="2000" b="0" i="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6" name="Tijdelijke aanduiding voor voettekst 1">
            <a:extLst>
              <a:ext uri="{FF2B5EF4-FFF2-40B4-BE49-F238E27FC236}">
                <a16:creationId xmlns:a16="http://schemas.microsoft.com/office/drawing/2014/main" xmlns="" id="{A40A0E42-8130-5A47-847A-12C7D8EEF4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958" y="6304235"/>
            <a:ext cx="112355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8" name="Tijdelijke aanduiding voor datum 2">
            <a:extLst>
              <a:ext uri="{FF2B5EF4-FFF2-40B4-BE49-F238E27FC236}">
                <a16:creationId xmlns:a16="http://schemas.microsoft.com/office/drawing/2014/main" xmlns="" id="{F2164724-361B-1140-A9AD-CA7DE7D174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A7DFDEC-AA2F-3F4C-9336-B6CF80D6D0D1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9" name="Tijdelijke aanduiding voor tekst 2">
            <a:extLst>
              <a:ext uri="{FF2B5EF4-FFF2-40B4-BE49-F238E27FC236}">
                <a16:creationId xmlns:a16="http://schemas.microsoft.com/office/drawing/2014/main" xmlns="" id="{7F682855-C634-FB4B-9F1D-16068302FC5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7055" y="1983754"/>
            <a:ext cx="4104456" cy="403753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</a:lstStyle>
          <a:p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Eerste niveau</a:t>
            </a:r>
          </a:p>
          <a:p>
            <a:pPr lvl="2"/>
            <a:r>
              <a:rPr lang="nl-NL" dirty="0"/>
              <a:t>Tweede niveau</a:t>
            </a:r>
          </a:p>
        </p:txBody>
      </p:sp>
      <p:grpSp>
        <p:nvGrpSpPr>
          <p:cNvPr id="112" name="Instructie Tekst">
            <a:extLst>
              <a:ext uri="{FF2B5EF4-FFF2-40B4-BE49-F238E27FC236}">
                <a16:creationId xmlns:a16="http://schemas.microsoft.com/office/drawing/2014/main" xmlns="" id="{2AF26956-9991-6047-8EE6-507AC93A861E}"/>
              </a:ext>
            </a:extLst>
          </p:cNvPr>
          <p:cNvGrpSpPr/>
          <p:nvPr userDrawn="1"/>
        </p:nvGrpSpPr>
        <p:grpSpPr>
          <a:xfrm>
            <a:off x="-2916113" y="0"/>
            <a:ext cx="2688057" cy="3772106"/>
            <a:chOff x="-2959433" y="-5444"/>
            <a:chExt cx="2688057" cy="3772106"/>
          </a:xfrm>
        </p:grpSpPr>
        <p:sp>
          <p:nvSpPr>
            <p:cNvPr id="113" name="Rechthoek 112">
              <a:extLst>
                <a:ext uri="{FF2B5EF4-FFF2-40B4-BE49-F238E27FC236}">
                  <a16:creationId xmlns:a16="http://schemas.microsoft.com/office/drawing/2014/main" xmlns="" id="{4918EE70-5CC3-2C47-8F8E-CA3CA6F2F539}"/>
                </a:ext>
              </a:extLst>
            </p:cNvPr>
            <p:cNvSpPr/>
            <p:nvPr userDrawn="1"/>
          </p:nvSpPr>
          <p:spPr>
            <a:xfrm>
              <a:off x="-2959433" y="-5444"/>
              <a:ext cx="2572469" cy="280344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TEKST NIVEAUS</a:t>
              </a:r>
            </a:p>
          </p:txBody>
        </p:sp>
        <p:sp>
          <p:nvSpPr>
            <p:cNvPr id="114" name="Textfield placeholder">
              <a:extLst>
                <a:ext uri="{FF2B5EF4-FFF2-40B4-BE49-F238E27FC236}">
                  <a16:creationId xmlns:a16="http://schemas.microsoft.com/office/drawing/2014/main" xmlns="" id="{E9B072B1-51CC-7046-BEC6-6A97AF5C350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87337" y="2675411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542925" marR="0" lvl="0" indent="-180975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5"/>
                </a:buClr>
                <a:buSzPct val="80000"/>
                <a:buFont typeface="Arial" panose="020B0604020202020204" pitchFamily="34" charset="0"/>
                <a:buChar char="-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b-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#2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115" name="Ovaal 114">
              <a:extLst>
                <a:ext uri="{FF2B5EF4-FFF2-40B4-BE49-F238E27FC236}">
                  <a16:creationId xmlns:a16="http://schemas.microsoft.com/office/drawing/2014/main" xmlns="" id="{86B1EEEF-E394-B741-8737-C9798B697F25}"/>
                </a:ext>
              </a:extLst>
            </p:cNvPr>
            <p:cNvSpPr/>
            <p:nvPr userDrawn="1"/>
          </p:nvSpPr>
          <p:spPr>
            <a:xfrm>
              <a:off x="-2959433" y="196874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16" name="Ovaal 115">
              <a:extLst>
                <a:ext uri="{FF2B5EF4-FFF2-40B4-BE49-F238E27FC236}">
                  <a16:creationId xmlns:a16="http://schemas.microsoft.com/office/drawing/2014/main" xmlns="" id="{2057D830-191C-AB4C-A2EE-97082BD4B39A}"/>
                </a:ext>
              </a:extLst>
            </p:cNvPr>
            <p:cNvSpPr/>
            <p:nvPr userDrawn="1"/>
          </p:nvSpPr>
          <p:spPr>
            <a:xfrm>
              <a:off x="-2959433" y="2322077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7" name="Ovaal 116">
              <a:extLst>
                <a:ext uri="{FF2B5EF4-FFF2-40B4-BE49-F238E27FC236}">
                  <a16:creationId xmlns:a16="http://schemas.microsoft.com/office/drawing/2014/main" xmlns="" id="{1C8C0264-03F2-CA4A-8F9E-26A9E2EB9299}"/>
                </a:ext>
              </a:extLst>
            </p:cNvPr>
            <p:cNvSpPr/>
            <p:nvPr userDrawn="1"/>
          </p:nvSpPr>
          <p:spPr>
            <a:xfrm>
              <a:off x="-2959433" y="267541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8" name="Ovaal 117">
              <a:extLst>
                <a:ext uri="{FF2B5EF4-FFF2-40B4-BE49-F238E27FC236}">
                  <a16:creationId xmlns:a16="http://schemas.microsoft.com/office/drawing/2014/main" xmlns="" id="{584D4A34-1E7F-8C4B-8386-C0CC5F795646}"/>
                </a:ext>
              </a:extLst>
            </p:cNvPr>
            <p:cNvSpPr/>
            <p:nvPr userDrawn="1"/>
          </p:nvSpPr>
          <p:spPr>
            <a:xfrm>
              <a:off x="-2959433" y="3028747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9" name="Textfield placeholder">
              <a:extLst>
                <a:ext uri="{FF2B5EF4-FFF2-40B4-BE49-F238E27FC236}">
                  <a16:creationId xmlns:a16="http://schemas.microsoft.com/office/drawing/2014/main" xmlns="" id="{6470024C-9EA3-5641-86F3-5F088E9AD94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1966925"/>
              <a:ext cx="2163709" cy="2615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marR="0" lvl="1" indent="-22860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1"/>
                </a:buClr>
                <a:buSzPct val="100000"/>
                <a:buFont typeface="Helvetica" pitchFamily="2" charset="0"/>
                <a:buChar char="●"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120" name="Textfield placeholder">
              <a:extLst>
                <a:ext uri="{FF2B5EF4-FFF2-40B4-BE49-F238E27FC236}">
                  <a16:creationId xmlns:a16="http://schemas.microsoft.com/office/drawing/2014/main" xmlns="" id="{81F8B3A2-948A-3541-85CA-9F6C908909A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2322077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55600" marR="0" lvl="2" indent="-174625" algn="l" defTabSz="914400" rtl="0" eaLnBrk="1" fontAlgn="auto" latinLnBrk="0" hangingPunct="1">
                <a:lnSpc>
                  <a:spcPts val="18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5"/>
                </a:buClr>
                <a:buSzTx/>
                <a:buFont typeface="Arial" panose="020B0604020202020204" pitchFamily="34" charset="0"/>
                <a:buChar char="•"/>
                <a:tabLst>
                  <a:tab pos="4394200" algn="l"/>
                </a:tabLst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ub-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bulle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#1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sp>
          <p:nvSpPr>
            <p:cNvPr id="121" name="Textfield placeholder">
              <a:extLst>
                <a:ext uri="{FF2B5EF4-FFF2-40B4-BE49-F238E27FC236}">
                  <a16:creationId xmlns:a16="http://schemas.microsoft.com/office/drawing/2014/main" xmlns="" id="{4ECEBE86-58ED-4145-B72D-1DB678EEF30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2571950" y="3028747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3" indent="0" algn="l" defTabSz="914400" rtl="0" eaLnBrk="1" fontAlgn="auto" latinLnBrk="0" hangingPunct="1">
                <a:lnSpc>
                  <a:spcPts val="17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Leestek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 (20 </a:t>
              </a:r>
              <a:r>
                <a:rPr kumimoji="0" lang="nl-NL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cxnSp>
          <p:nvCxnSpPr>
            <p:cNvPr id="122" name="Rechte verbindingslijn 121">
              <a:extLst>
                <a:ext uri="{FF2B5EF4-FFF2-40B4-BE49-F238E27FC236}">
                  <a16:creationId xmlns:a16="http://schemas.microsoft.com/office/drawing/2014/main" xmlns="" id="{1E15ADFC-DBE7-CC47-8A4D-08BFAC272DEF}"/>
                </a:ext>
              </a:extLst>
            </p:cNvPr>
            <p:cNvCxnSpPr/>
            <p:nvPr userDrawn="1"/>
          </p:nvCxnSpPr>
          <p:spPr>
            <a:xfrm>
              <a:off x="-2959100" y="274900"/>
              <a:ext cx="2674470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xmlns="" id="{3285FBB6-F634-2846-BEB8-DFC1C6AF0C16}"/>
                </a:ext>
              </a:extLst>
            </p:cNvPr>
            <p:cNvCxnSpPr/>
            <p:nvPr userDrawn="1"/>
          </p:nvCxnSpPr>
          <p:spPr>
            <a:xfrm>
              <a:off x="-2959100" y="1841989"/>
              <a:ext cx="2661379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xmlns="" id="{65E65203-C1B1-9447-BEC7-2DF33E1629FF}"/>
                </a:ext>
              </a:extLst>
            </p:cNvPr>
            <p:cNvCxnSpPr/>
            <p:nvPr userDrawn="1"/>
          </p:nvCxnSpPr>
          <p:spPr>
            <a:xfrm>
              <a:off x="-2959100" y="3766662"/>
              <a:ext cx="2661379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grpSp>
          <p:nvGrpSpPr>
            <p:cNvPr id="125" name="Groep 124">
              <a:extLst>
                <a:ext uri="{FF2B5EF4-FFF2-40B4-BE49-F238E27FC236}">
                  <a16:creationId xmlns:a16="http://schemas.microsoft.com/office/drawing/2014/main" xmlns="" id="{0DE25F08-997F-AC4F-AE86-CF7062E6A7F1}"/>
                </a:ext>
              </a:extLst>
            </p:cNvPr>
            <p:cNvGrpSpPr/>
            <p:nvPr userDrawn="1"/>
          </p:nvGrpSpPr>
          <p:grpSpPr>
            <a:xfrm>
              <a:off x="-1948476" y="816741"/>
              <a:ext cx="409108" cy="427699"/>
              <a:chOff x="-1085063" y="758027"/>
              <a:chExt cx="633799" cy="622540"/>
            </a:xfrm>
          </p:grpSpPr>
          <p:sp>
            <p:nvSpPr>
              <p:cNvPr id="173" name="Afgeronde rechthoek 172">
                <a:extLst>
                  <a:ext uri="{FF2B5EF4-FFF2-40B4-BE49-F238E27FC236}">
                    <a16:creationId xmlns:a16="http://schemas.microsoft.com/office/drawing/2014/main" xmlns="" id="{A99A2D6A-BDE6-CE4C-9A30-1AF7D7790289}"/>
                  </a:ext>
                </a:extLst>
              </p:cNvPr>
              <p:cNvSpPr/>
              <p:nvPr userDrawn="1"/>
            </p:nvSpPr>
            <p:spPr>
              <a:xfrm>
                <a:off x="-108506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F291F"/>
                  </a:solidFill>
                  <a:effectLst/>
                  <a:uLnTx/>
                  <a:uFillTx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xmlns="" id="{E58C5FFF-D4E6-A94F-B2C0-DAAD326B5123}"/>
                  </a:ext>
                </a:extLst>
              </p:cNvPr>
              <p:cNvGrpSpPr/>
              <p:nvPr userDrawn="1"/>
            </p:nvGrpSpPr>
            <p:grpSpPr>
              <a:xfrm>
                <a:off x="-977746" y="864082"/>
                <a:ext cx="419166" cy="410430"/>
                <a:chOff x="6366933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175" name="Rechthoek 174">
                  <a:extLst>
                    <a:ext uri="{FF2B5EF4-FFF2-40B4-BE49-F238E27FC236}">
                      <a16:creationId xmlns:a16="http://schemas.microsoft.com/office/drawing/2014/main" xmlns="" id="{4B5B21F4-FC20-874E-9242-9C7D72A580E2}"/>
                    </a:ext>
                  </a:extLst>
                </p:cNvPr>
                <p:cNvSpPr/>
                <p:nvPr userDrawn="1"/>
              </p:nvSpPr>
              <p:spPr>
                <a:xfrm>
                  <a:off x="6608189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6" name="Rechthoek 175">
                  <a:extLst>
                    <a:ext uri="{FF2B5EF4-FFF2-40B4-BE49-F238E27FC236}">
                      <a16:creationId xmlns:a16="http://schemas.microsoft.com/office/drawing/2014/main" xmlns="" id="{5DDE93D6-B30D-534C-A729-4D68B3D708EA}"/>
                    </a:ext>
                  </a:extLst>
                </p:cNvPr>
                <p:cNvSpPr/>
                <p:nvPr userDrawn="1"/>
              </p:nvSpPr>
              <p:spPr>
                <a:xfrm>
                  <a:off x="6608189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7" name="Rechthoek 176">
                  <a:extLst>
                    <a:ext uri="{FF2B5EF4-FFF2-40B4-BE49-F238E27FC236}">
                      <a16:creationId xmlns:a16="http://schemas.microsoft.com/office/drawing/2014/main" xmlns="" id="{B515A72F-C15D-9941-A0B3-7B44F0C3D35E}"/>
                    </a:ext>
                  </a:extLst>
                </p:cNvPr>
                <p:cNvSpPr/>
                <p:nvPr userDrawn="1"/>
              </p:nvSpPr>
              <p:spPr>
                <a:xfrm>
                  <a:off x="6608189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xmlns="" id="{9FD48977-3D12-254B-9E05-AB83AD816829}"/>
                    </a:ext>
                  </a:extLst>
                </p:cNvPr>
                <p:cNvSpPr/>
                <p:nvPr userDrawn="1"/>
              </p:nvSpPr>
              <p:spPr>
                <a:xfrm>
                  <a:off x="7252238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xmlns="" id="{5EE66757-A9EF-0D44-A357-74A631568BE2}"/>
                    </a:ext>
                  </a:extLst>
                </p:cNvPr>
                <p:cNvSpPr/>
                <p:nvPr userDrawn="1"/>
              </p:nvSpPr>
              <p:spPr>
                <a:xfrm>
                  <a:off x="7252238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0" name="Rechthoek 179">
                  <a:extLst>
                    <a:ext uri="{FF2B5EF4-FFF2-40B4-BE49-F238E27FC236}">
                      <a16:creationId xmlns:a16="http://schemas.microsoft.com/office/drawing/2014/main" xmlns="" id="{7608E628-A426-AE46-84F5-67370D9D644C}"/>
                    </a:ext>
                  </a:extLst>
                </p:cNvPr>
                <p:cNvSpPr/>
                <p:nvPr userDrawn="1"/>
              </p:nvSpPr>
              <p:spPr>
                <a:xfrm>
                  <a:off x="7252238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1" name="Rechthoek 180">
                  <a:extLst>
                    <a:ext uri="{FF2B5EF4-FFF2-40B4-BE49-F238E27FC236}">
                      <a16:creationId xmlns:a16="http://schemas.microsoft.com/office/drawing/2014/main" xmlns="" id="{570A9FC7-08ED-BC48-91DA-87A1CD0C2579}"/>
                    </a:ext>
                  </a:extLst>
                </p:cNvPr>
                <p:cNvSpPr/>
                <p:nvPr userDrawn="1"/>
              </p:nvSpPr>
              <p:spPr>
                <a:xfrm>
                  <a:off x="7252238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xmlns="" id="{29B90842-B5B3-9645-A49A-4378354D7AEF}"/>
                    </a:ext>
                  </a:extLst>
                </p:cNvPr>
                <p:cNvSpPr/>
                <p:nvPr userDrawn="1"/>
              </p:nvSpPr>
              <p:spPr>
                <a:xfrm>
                  <a:off x="7252238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3" name="Rechthoek 182">
                  <a:extLst>
                    <a:ext uri="{FF2B5EF4-FFF2-40B4-BE49-F238E27FC236}">
                      <a16:creationId xmlns:a16="http://schemas.microsoft.com/office/drawing/2014/main" xmlns="" id="{ABA6C41F-75EC-C34A-ABD4-716C528CCB1D}"/>
                    </a:ext>
                  </a:extLst>
                </p:cNvPr>
                <p:cNvSpPr/>
                <p:nvPr userDrawn="1"/>
              </p:nvSpPr>
              <p:spPr>
                <a:xfrm>
                  <a:off x="7252238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4" name="Rechthoek 183">
                  <a:extLst>
                    <a:ext uri="{FF2B5EF4-FFF2-40B4-BE49-F238E27FC236}">
                      <a16:creationId xmlns:a16="http://schemas.microsoft.com/office/drawing/2014/main" xmlns="" id="{A5ED3C43-A10E-6648-AE87-1D996AB4C6F4}"/>
                    </a:ext>
                  </a:extLst>
                </p:cNvPr>
                <p:cNvSpPr/>
                <p:nvPr userDrawn="1"/>
              </p:nvSpPr>
              <p:spPr>
                <a:xfrm>
                  <a:off x="7252238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85" name="Vrije vorm 184">
                  <a:extLst>
                    <a:ext uri="{FF2B5EF4-FFF2-40B4-BE49-F238E27FC236}">
                      <a16:creationId xmlns:a16="http://schemas.microsoft.com/office/drawing/2014/main" xmlns="" id="{0D7C01B3-9237-8749-83F7-E09F5DF47355}"/>
                    </a:ext>
                  </a:extLst>
                </p:cNvPr>
                <p:cNvSpPr/>
                <p:nvPr userDrawn="1"/>
              </p:nvSpPr>
              <p:spPr>
                <a:xfrm flipH="1">
                  <a:off x="6366933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</p:grpSp>
        <p:grpSp>
          <p:nvGrpSpPr>
            <p:cNvPr id="126" name="Groep 125">
              <a:extLst>
                <a:ext uri="{FF2B5EF4-FFF2-40B4-BE49-F238E27FC236}">
                  <a16:creationId xmlns:a16="http://schemas.microsoft.com/office/drawing/2014/main" xmlns="" id="{E65BC690-295A-2B4B-B88A-4DE060345F2A}"/>
                </a:ext>
              </a:extLst>
            </p:cNvPr>
            <p:cNvGrpSpPr/>
            <p:nvPr/>
          </p:nvGrpSpPr>
          <p:grpSpPr>
            <a:xfrm>
              <a:off x="-2950232" y="1207835"/>
              <a:ext cx="532929" cy="509563"/>
              <a:chOff x="-2880382" y="802341"/>
              <a:chExt cx="532929" cy="509563"/>
            </a:xfrm>
          </p:grpSpPr>
          <p:sp>
            <p:nvSpPr>
              <p:cNvPr id="151" name="Rechthoek 150">
                <a:extLst>
                  <a:ext uri="{FF2B5EF4-FFF2-40B4-BE49-F238E27FC236}">
                    <a16:creationId xmlns:a16="http://schemas.microsoft.com/office/drawing/2014/main" xmlns="" id="{6E2F3A09-7A2B-1C4F-A992-FC09CDA20FFF}"/>
                  </a:ext>
                </a:extLst>
              </p:cNvPr>
              <p:cNvSpPr/>
              <p:nvPr/>
            </p:nvSpPr>
            <p:spPr>
              <a:xfrm>
                <a:off x="-2880382" y="802341"/>
                <a:ext cx="532929" cy="509563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pic>
            <p:nvPicPr>
              <p:cNvPr id="152" name="Picture 2">
                <a:extLst>
                  <a:ext uri="{FF2B5EF4-FFF2-40B4-BE49-F238E27FC236}">
                    <a16:creationId xmlns:a16="http://schemas.microsoft.com/office/drawing/2014/main" xmlns="" id="{B6BA2CA5-67CC-FF4A-8F3F-FF096DB8386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635852" y="822181"/>
                <a:ext cx="226442" cy="2089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53" name="Picture 3">
                <a:extLst>
                  <a:ext uri="{FF2B5EF4-FFF2-40B4-BE49-F238E27FC236}">
                    <a16:creationId xmlns:a16="http://schemas.microsoft.com/office/drawing/2014/main" xmlns="" id="{9EE3CE65-0F67-ED48-9FD0-0237247D5D5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848026" y="822181"/>
                <a:ext cx="207168" cy="21351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54" name="Groep 153">
                <a:extLst>
                  <a:ext uri="{FF2B5EF4-FFF2-40B4-BE49-F238E27FC236}">
                    <a16:creationId xmlns:a16="http://schemas.microsoft.com/office/drawing/2014/main" xmlns="" id="{784A2A64-7539-7540-A7FF-16AA75BCFCD0}"/>
                  </a:ext>
                </a:extLst>
              </p:cNvPr>
              <p:cNvGrpSpPr/>
              <p:nvPr/>
            </p:nvGrpSpPr>
            <p:grpSpPr>
              <a:xfrm>
                <a:off x="-2802433" y="1123442"/>
                <a:ext cx="132915" cy="104889"/>
                <a:chOff x="-2796392" y="1123442"/>
                <a:chExt cx="120832" cy="104889"/>
              </a:xfrm>
            </p:grpSpPr>
            <p:sp>
              <p:nvSpPr>
                <p:cNvPr id="168" name="Rechthoek 167">
                  <a:extLst>
                    <a:ext uri="{FF2B5EF4-FFF2-40B4-BE49-F238E27FC236}">
                      <a16:creationId xmlns:a16="http://schemas.microsoft.com/office/drawing/2014/main" xmlns="" id="{65110826-EB7A-6649-98CF-E6F1F0364107}"/>
                    </a:ext>
                  </a:extLst>
                </p:cNvPr>
                <p:cNvSpPr/>
                <p:nvPr/>
              </p:nvSpPr>
              <p:spPr>
                <a:xfrm>
                  <a:off x="-2796392" y="1123442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69" name="Rechthoek 168">
                  <a:extLst>
                    <a:ext uri="{FF2B5EF4-FFF2-40B4-BE49-F238E27FC236}">
                      <a16:creationId xmlns:a16="http://schemas.microsoft.com/office/drawing/2014/main" xmlns="" id="{49AAC676-2A3A-064B-B3F4-264FF0DF49F4}"/>
                    </a:ext>
                  </a:extLst>
                </p:cNvPr>
                <p:cNvSpPr/>
                <p:nvPr/>
              </p:nvSpPr>
              <p:spPr>
                <a:xfrm>
                  <a:off x="-2796392" y="1146758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0" name="Rechthoek 169">
                  <a:extLst>
                    <a:ext uri="{FF2B5EF4-FFF2-40B4-BE49-F238E27FC236}">
                      <a16:creationId xmlns:a16="http://schemas.microsoft.com/office/drawing/2014/main" xmlns="" id="{79D85F2E-6504-0847-83E8-29C64D75C5A5}"/>
                    </a:ext>
                  </a:extLst>
                </p:cNvPr>
                <p:cNvSpPr/>
                <p:nvPr/>
              </p:nvSpPr>
              <p:spPr>
                <a:xfrm>
                  <a:off x="-2796392" y="1193390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1" name="Rechthoek 170">
                  <a:extLst>
                    <a:ext uri="{FF2B5EF4-FFF2-40B4-BE49-F238E27FC236}">
                      <a16:creationId xmlns:a16="http://schemas.microsoft.com/office/drawing/2014/main" xmlns="" id="{711EFE01-62AC-734C-98E2-3DA807988154}"/>
                    </a:ext>
                  </a:extLst>
                </p:cNvPr>
                <p:cNvSpPr/>
                <p:nvPr/>
              </p:nvSpPr>
              <p:spPr>
                <a:xfrm>
                  <a:off x="-2796392" y="1216707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72" name="Rechthoek 171">
                  <a:extLst>
                    <a:ext uri="{FF2B5EF4-FFF2-40B4-BE49-F238E27FC236}">
                      <a16:creationId xmlns:a16="http://schemas.microsoft.com/office/drawing/2014/main" xmlns="" id="{2E9D1398-ADB8-4246-8D14-B4B654BAC9A8}"/>
                    </a:ext>
                  </a:extLst>
                </p:cNvPr>
                <p:cNvSpPr/>
                <p:nvPr/>
              </p:nvSpPr>
              <p:spPr>
                <a:xfrm>
                  <a:off x="-2796392" y="1170074"/>
                  <a:ext cx="120832" cy="11624"/>
                </a:xfrm>
                <a:prstGeom prst="rect">
                  <a:avLst/>
                </a:pr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  <p:grpSp>
            <p:nvGrpSpPr>
              <p:cNvPr id="155" name="Groep 154">
                <a:extLst>
                  <a:ext uri="{FF2B5EF4-FFF2-40B4-BE49-F238E27FC236}">
                    <a16:creationId xmlns:a16="http://schemas.microsoft.com/office/drawing/2014/main" xmlns="" id="{050B3ACA-4B6B-E14C-B05D-7EAA7133CC52}"/>
                  </a:ext>
                </a:extLst>
              </p:cNvPr>
              <p:cNvGrpSpPr/>
              <p:nvPr/>
            </p:nvGrpSpPr>
            <p:grpSpPr>
              <a:xfrm>
                <a:off x="-2575435" y="1123442"/>
                <a:ext cx="133931" cy="104889"/>
                <a:chOff x="-2556734" y="1123442"/>
                <a:chExt cx="147324" cy="104889"/>
              </a:xfrm>
            </p:grpSpPr>
            <p:grpSp>
              <p:nvGrpSpPr>
                <p:cNvPr id="156" name="Groep 155">
                  <a:extLst>
                    <a:ext uri="{FF2B5EF4-FFF2-40B4-BE49-F238E27FC236}">
                      <a16:creationId xmlns:a16="http://schemas.microsoft.com/office/drawing/2014/main" xmlns="" id="{F97EEE22-E8D5-0D4C-8E45-7C255CC2E0AA}"/>
                    </a:ext>
                  </a:extLst>
                </p:cNvPr>
                <p:cNvGrpSpPr/>
                <p:nvPr/>
              </p:nvGrpSpPr>
              <p:grpSpPr>
                <a:xfrm>
                  <a:off x="-2556734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xmlns="" id="{429023CB-B5C8-2E42-801D-C8E8DAA51903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xmlns="" id="{D96CC492-CE25-D747-B46C-01175392905A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xmlns="" id="{AAAF7EE8-2AE7-C64C-840B-C2AB60E529B2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6" name="Rechthoek 165">
                    <a:extLst>
                      <a:ext uri="{FF2B5EF4-FFF2-40B4-BE49-F238E27FC236}">
                        <a16:creationId xmlns:a16="http://schemas.microsoft.com/office/drawing/2014/main" xmlns="" id="{DDB27FCD-BF7A-BB47-9D76-27BD93BE005F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7" name="Rechthoek 166">
                    <a:extLst>
                      <a:ext uri="{FF2B5EF4-FFF2-40B4-BE49-F238E27FC236}">
                        <a16:creationId xmlns:a16="http://schemas.microsoft.com/office/drawing/2014/main" xmlns="" id="{3DF0CF83-5F74-9941-8D69-FC325A1C2BF2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</p:grpSp>
            <p:grpSp>
              <p:nvGrpSpPr>
                <p:cNvPr id="157" name="Groep 156">
                  <a:extLst>
                    <a:ext uri="{FF2B5EF4-FFF2-40B4-BE49-F238E27FC236}">
                      <a16:creationId xmlns:a16="http://schemas.microsoft.com/office/drawing/2014/main" xmlns="" id="{3A2CD57B-361A-A940-91CB-4F3803D1A5D0}"/>
                    </a:ext>
                  </a:extLst>
                </p:cNvPr>
                <p:cNvGrpSpPr/>
                <p:nvPr/>
              </p:nvGrpSpPr>
              <p:grpSpPr>
                <a:xfrm>
                  <a:off x="-2477616" y="1123442"/>
                  <a:ext cx="68206" cy="104889"/>
                  <a:chOff x="-2796392" y="1123442"/>
                  <a:chExt cx="120832" cy="104889"/>
                </a:xfrm>
              </p:grpSpPr>
              <p:sp>
                <p:nvSpPr>
                  <p:cNvPr id="158" name="Rechthoek 157">
                    <a:extLst>
                      <a:ext uri="{FF2B5EF4-FFF2-40B4-BE49-F238E27FC236}">
                        <a16:creationId xmlns:a16="http://schemas.microsoft.com/office/drawing/2014/main" xmlns="" id="{9D51C2A1-A7DD-8D49-BFDB-13AEAF482AD6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23442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59" name="Rechthoek 158">
                    <a:extLst>
                      <a:ext uri="{FF2B5EF4-FFF2-40B4-BE49-F238E27FC236}">
                        <a16:creationId xmlns:a16="http://schemas.microsoft.com/office/drawing/2014/main" xmlns="" id="{24D93BA2-E19B-0743-AE90-2DFE69C95F03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46758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0" name="Rechthoek 159">
                    <a:extLst>
                      <a:ext uri="{FF2B5EF4-FFF2-40B4-BE49-F238E27FC236}">
                        <a16:creationId xmlns:a16="http://schemas.microsoft.com/office/drawing/2014/main" xmlns="" id="{B7FED28B-1D7A-674A-A815-38C919A6470F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93390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1" name="Rechthoek 160">
                    <a:extLst>
                      <a:ext uri="{FF2B5EF4-FFF2-40B4-BE49-F238E27FC236}">
                        <a16:creationId xmlns:a16="http://schemas.microsoft.com/office/drawing/2014/main" xmlns="" id="{C0CD0FE3-B771-3444-A6C6-F04005261C71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216707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xmlns="" id="{11503CBF-8221-6F40-ACD3-D270A8E18681}"/>
                      </a:ext>
                    </a:extLst>
                  </p:cNvPr>
                  <p:cNvSpPr/>
                  <p:nvPr/>
                </p:nvSpPr>
                <p:spPr>
                  <a:xfrm>
                    <a:off x="-2796392" y="1170074"/>
                    <a:ext cx="120832" cy="11624"/>
                  </a:xfrm>
                  <a:prstGeom prst="rect">
                    <a:avLst/>
                  </a:prstGeom>
                  <a:solidFill>
                    <a:srgbClr val="00000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EF291F"/>
                      </a:solidFill>
                      <a:effectLst/>
                      <a:uLnTx/>
                      <a:uFillTx/>
                      <a:cs typeface="Segoe UI Light" panose="020B0502040204020203" pitchFamily="34" charset="0"/>
                    </a:endParaRPr>
                  </a:p>
                </p:txBody>
              </p:sp>
            </p:grpSp>
          </p:grpSp>
        </p:grpSp>
        <p:grpSp>
          <p:nvGrpSpPr>
            <p:cNvPr id="127" name="Groep 126">
              <a:extLst>
                <a:ext uri="{FF2B5EF4-FFF2-40B4-BE49-F238E27FC236}">
                  <a16:creationId xmlns:a16="http://schemas.microsoft.com/office/drawing/2014/main" xmlns="" id="{3133B9FF-D117-0A42-BDB9-E76A12F98D0E}"/>
                </a:ext>
              </a:extLst>
            </p:cNvPr>
            <p:cNvGrpSpPr/>
            <p:nvPr userDrawn="1"/>
          </p:nvGrpSpPr>
          <p:grpSpPr>
            <a:xfrm>
              <a:off x="-1948476" y="1281164"/>
              <a:ext cx="413704" cy="427699"/>
              <a:chOff x="-1845083" y="758027"/>
              <a:chExt cx="633799" cy="622540"/>
            </a:xfrm>
          </p:grpSpPr>
          <p:sp>
            <p:nvSpPr>
              <p:cNvPr id="138" name="Afgeronde rechthoek 137">
                <a:extLst>
                  <a:ext uri="{FF2B5EF4-FFF2-40B4-BE49-F238E27FC236}">
                    <a16:creationId xmlns:a16="http://schemas.microsoft.com/office/drawing/2014/main" xmlns="" id="{83D5E386-84CC-974F-8DC6-42E9B7730666}"/>
                  </a:ext>
                </a:extLst>
              </p:cNvPr>
              <p:cNvSpPr/>
              <p:nvPr userDrawn="1"/>
            </p:nvSpPr>
            <p:spPr>
              <a:xfrm>
                <a:off x="-1845083" y="758027"/>
                <a:ext cx="633799" cy="622540"/>
              </a:xfrm>
              <a:prstGeom prst="roundRect">
                <a:avLst>
                  <a:gd name="adj" fmla="val 10944"/>
                </a:avLst>
              </a:prstGeom>
              <a:solidFill>
                <a:srgbClr val="FFFFFF"/>
              </a:solidFill>
              <a:ln w="12700" cap="flat" cmpd="sng" algn="ctr">
                <a:solidFill>
                  <a:schemeClr val="accent5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EF291F"/>
                  </a:solidFill>
                  <a:effectLst/>
                  <a:uLnTx/>
                  <a:uFillTx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139" name="Groep 138">
                <a:extLst>
                  <a:ext uri="{FF2B5EF4-FFF2-40B4-BE49-F238E27FC236}">
                    <a16:creationId xmlns:a16="http://schemas.microsoft.com/office/drawing/2014/main" xmlns="" id="{7F23AC26-B36A-704C-99A6-0004D038557C}"/>
                  </a:ext>
                </a:extLst>
              </p:cNvPr>
              <p:cNvGrpSpPr/>
              <p:nvPr userDrawn="1"/>
            </p:nvGrpSpPr>
            <p:grpSpPr>
              <a:xfrm>
                <a:off x="-1737766" y="864082"/>
                <a:ext cx="419166" cy="410430"/>
                <a:chOff x="3708400" y="309013"/>
                <a:chExt cx="1901295" cy="1861668"/>
              </a:xfrm>
              <a:solidFill>
                <a:srgbClr val="000000"/>
              </a:solidFill>
            </p:grpSpPr>
            <p:sp>
              <p:nvSpPr>
                <p:cNvPr id="140" name="Rechthoek 139">
                  <a:extLst>
                    <a:ext uri="{FF2B5EF4-FFF2-40B4-BE49-F238E27FC236}">
                      <a16:creationId xmlns:a16="http://schemas.microsoft.com/office/drawing/2014/main" xmlns="" id="{654497CB-4B01-704A-A683-E4E76915FB40}"/>
                    </a:ext>
                  </a:extLst>
                </p:cNvPr>
                <p:cNvSpPr/>
                <p:nvPr userDrawn="1"/>
              </p:nvSpPr>
              <p:spPr>
                <a:xfrm>
                  <a:off x="3949656" y="535149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1" name="Rechthoek 140">
                  <a:extLst>
                    <a:ext uri="{FF2B5EF4-FFF2-40B4-BE49-F238E27FC236}">
                      <a16:creationId xmlns:a16="http://schemas.microsoft.com/office/drawing/2014/main" xmlns="" id="{E2986893-8F11-E84F-A462-6CEC8F927B37}"/>
                    </a:ext>
                  </a:extLst>
                </p:cNvPr>
                <p:cNvSpPr/>
                <p:nvPr userDrawn="1"/>
              </p:nvSpPr>
              <p:spPr>
                <a:xfrm>
                  <a:off x="3949656" y="1512611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xmlns="" id="{E834253D-D884-9946-9A20-B0A6A1488C06}"/>
                    </a:ext>
                  </a:extLst>
                </p:cNvPr>
                <p:cNvSpPr/>
                <p:nvPr userDrawn="1"/>
              </p:nvSpPr>
              <p:spPr>
                <a:xfrm>
                  <a:off x="3949656" y="1780625"/>
                  <a:ext cx="45757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xmlns="" id="{6B4100C2-C777-B84D-807E-FC78C1FBBEA9}"/>
                    </a:ext>
                  </a:extLst>
                </p:cNvPr>
                <p:cNvSpPr/>
                <p:nvPr userDrawn="1"/>
              </p:nvSpPr>
              <p:spPr>
                <a:xfrm>
                  <a:off x="4593705" y="535149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xmlns="" id="{19D0AE07-D147-1A49-BBC0-B25735B1CC4C}"/>
                    </a:ext>
                  </a:extLst>
                </p:cNvPr>
                <p:cNvSpPr/>
                <p:nvPr userDrawn="1"/>
              </p:nvSpPr>
              <p:spPr>
                <a:xfrm>
                  <a:off x="4593705" y="1512611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5" name="Rechthoek 144">
                  <a:extLst>
                    <a:ext uri="{FF2B5EF4-FFF2-40B4-BE49-F238E27FC236}">
                      <a16:creationId xmlns:a16="http://schemas.microsoft.com/office/drawing/2014/main" xmlns="" id="{3340CB49-87A8-EE4C-9D60-21B8FF87B4C3}"/>
                    </a:ext>
                  </a:extLst>
                </p:cNvPr>
                <p:cNvSpPr/>
                <p:nvPr userDrawn="1"/>
              </p:nvSpPr>
              <p:spPr>
                <a:xfrm>
                  <a:off x="4593705" y="1780625"/>
                  <a:ext cx="1777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6" name="Rechthoek 145">
                  <a:extLst>
                    <a:ext uri="{FF2B5EF4-FFF2-40B4-BE49-F238E27FC236}">
                      <a16:creationId xmlns:a16="http://schemas.microsoft.com/office/drawing/2014/main" xmlns="" id="{2F6A53D5-6169-934E-8F0C-A99B93AF708D}"/>
                    </a:ext>
                  </a:extLst>
                </p:cNvPr>
                <p:cNvSpPr/>
                <p:nvPr userDrawn="1"/>
              </p:nvSpPr>
              <p:spPr>
                <a:xfrm>
                  <a:off x="4593705" y="854236"/>
                  <a:ext cx="1015990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7" name="Rechthoek 146">
                  <a:extLst>
                    <a:ext uri="{FF2B5EF4-FFF2-40B4-BE49-F238E27FC236}">
                      <a16:creationId xmlns:a16="http://schemas.microsoft.com/office/drawing/2014/main" xmlns="" id="{5D12F6CB-E655-6446-8FB8-848F7393C1B9}"/>
                    </a:ext>
                  </a:extLst>
                </p:cNvPr>
                <p:cNvSpPr/>
                <p:nvPr userDrawn="1"/>
              </p:nvSpPr>
              <p:spPr>
                <a:xfrm>
                  <a:off x="4593705" y="1191263"/>
                  <a:ext cx="606415" cy="1990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8" name="Rechthoek 147">
                  <a:extLst>
                    <a:ext uri="{FF2B5EF4-FFF2-40B4-BE49-F238E27FC236}">
                      <a16:creationId xmlns:a16="http://schemas.microsoft.com/office/drawing/2014/main" xmlns="" id="{AA9B7BDC-5D66-6B42-9A19-E5CCF953A17F}"/>
                    </a:ext>
                  </a:extLst>
                </p:cNvPr>
                <p:cNvSpPr/>
                <p:nvPr userDrawn="1"/>
              </p:nvSpPr>
              <p:spPr>
                <a:xfrm>
                  <a:off x="4593705" y="309013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49" name="Rechthoek 148">
                  <a:extLst>
                    <a:ext uri="{FF2B5EF4-FFF2-40B4-BE49-F238E27FC236}">
                      <a16:creationId xmlns:a16="http://schemas.microsoft.com/office/drawing/2014/main" xmlns="" id="{EFF59ADC-E184-6448-9029-2201DB1F4EB0}"/>
                    </a:ext>
                  </a:extLst>
                </p:cNvPr>
                <p:cNvSpPr/>
                <p:nvPr userDrawn="1"/>
              </p:nvSpPr>
              <p:spPr>
                <a:xfrm>
                  <a:off x="4593705" y="2021132"/>
                  <a:ext cx="88895" cy="149549"/>
                </a:xfrm>
                <a:prstGeom prst="rect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50" name="Vrije vorm 149">
                  <a:extLst>
                    <a:ext uri="{FF2B5EF4-FFF2-40B4-BE49-F238E27FC236}">
                      <a16:creationId xmlns:a16="http://schemas.microsoft.com/office/drawing/2014/main" xmlns="" id="{B3EF6273-F7B9-0046-9F7F-F6940318F343}"/>
                    </a:ext>
                  </a:extLst>
                </p:cNvPr>
                <p:cNvSpPr/>
                <p:nvPr userDrawn="1"/>
              </p:nvSpPr>
              <p:spPr>
                <a:xfrm>
                  <a:off x="3708400" y="804333"/>
                  <a:ext cx="762000" cy="575734"/>
                </a:xfrm>
                <a:custGeom>
                  <a:avLst/>
                  <a:gdLst>
                    <a:gd name="connsiteX0" fmla="*/ 635000 w 762000"/>
                    <a:gd name="connsiteY0" fmla="*/ 0 h 575734"/>
                    <a:gd name="connsiteX1" fmla="*/ 482600 w 762000"/>
                    <a:gd name="connsiteY1" fmla="*/ 203200 h 575734"/>
                    <a:gd name="connsiteX2" fmla="*/ 762000 w 762000"/>
                    <a:gd name="connsiteY2" fmla="*/ 203200 h 575734"/>
                    <a:gd name="connsiteX3" fmla="*/ 762000 w 762000"/>
                    <a:gd name="connsiteY3" fmla="*/ 364067 h 575734"/>
                    <a:gd name="connsiteX4" fmla="*/ 482600 w 762000"/>
                    <a:gd name="connsiteY4" fmla="*/ 364067 h 575734"/>
                    <a:gd name="connsiteX5" fmla="*/ 635000 w 762000"/>
                    <a:gd name="connsiteY5" fmla="*/ 575734 h 575734"/>
                    <a:gd name="connsiteX6" fmla="*/ 524933 w 762000"/>
                    <a:gd name="connsiteY6" fmla="*/ 575734 h 575734"/>
                    <a:gd name="connsiteX7" fmla="*/ 0 w 762000"/>
                    <a:gd name="connsiteY7" fmla="*/ 313267 h 575734"/>
                    <a:gd name="connsiteX8" fmla="*/ 533400 w 762000"/>
                    <a:gd name="connsiteY8" fmla="*/ 0 h 575734"/>
                    <a:gd name="connsiteX9" fmla="*/ 635000 w 762000"/>
                    <a:gd name="connsiteY9" fmla="*/ 0 h 5757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2000" h="575734">
                      <a:moveTo>
                        <a:pt x="635000" y="0"/>
                      </a:moveTo>
                      <a:lnTo>
                        <a:pt x="482600" y="203200"/>
                      </a:lnTo>
                      <a:lnTo>
                        <a:pt x="762000" y="203200"/>
                      </a:lnTo>
                      <a:lnTo>
                        <a:pt x="762000" y="364067"/>
                      </a:lnTo>
                      <a:lnTo>
                        <a:pt x="482600" y="364067"/>
                      </a:lnTo>
                      <a:lnTo>
                        <a:pt x="635000" y="575734"/>
                      </a:lnTo>
                      <a:lnTo>
                        <a:pt x="524933" y="575734"/>
                      </a:lnTo>
                      <a:lnTo>
                        <a:pt x="0" y="313267"/>
                      </a:lnTo>
                      <a:lnTo>
                        <a:pt x="533400" y="0"/>
                      </a:lnTo>
                      <a:lnTo>
                        <a:pt x="63500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nl-NL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EF291F"/>
                    </a:solidFill>
                    <a:effectLst/>
                    <a:uLnTx/>
                    <a:uFillTx/>
                    <a:cs typeface="Segoe UI Light" panose="020B0502040204020203" pitchFamily="34" charset="0"/>
                  </a:endParaRPr>
                </a:p>
              </p:txBody>
            </p:sp>
          </p:grpSp>
        </p:grpSp>
        <p:cxnSp>
          <p:nvCxnSpPr>
            <p:cNvPr id="128" name="Rechte verbindingslijn 127">
              <a:extLst>
                <a:ext uri="{FF2B5EF4-FFF2-40B4-BE49-F238E27FC236}">
                  <a16:creationId xmlns:a16="http://schemas.microsoft.com/office/drawing/2014/main" xmlns="" id="{8E96B447-DDB1-FA4B-B538-968E5F5DE512}"/>
                </a:ext>
              </a:extLst>
            </p:cNvPr>
            <p:cNvCxnSpPr>
              <a:stCxn id="153" idx="2"/>
              <a:endCxn id="138" idx="1"/>
            </p:cNvCxnSpPr>
            <p:nvPr userDrawn="1"/>
          </p:nvCxnSpPr>
          <p:spPr>
            <a:xfrm>
              <a:off x="-2814292" y="1441193"/>
              <a:ext cx="865816" cy="53821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headEnd type="oval"/>
            </a:ln>
            <a:effectLst/>
          </p:spPr>
        </p:cxnSp>
        <p:cxnSp>
          <p:nvCxnSpPr>
            <p:cNvPr id="129" name="Rechte verbindingslijn 128">
              <a:extLst>
                <a:ext uri="{FF2B5EF4-FFF2-40B4-BE49-F238E27FC236}">
                  <a16:creationId xmlns:a16="http://schemas.microsoft.com/office/drawing/2014/main" xmlns="" id="{9B0B1FCB-5D09-CF40-B27F-AE160E73565E}"/>
                </a:ext>
              </a:extLst>
            </p:cNvPr>
            <p:cNvCxnSpPr>
              <a:endCxn id="173" idx="1"/>
            </p:cNvCxnSpPr>
            <p:nvPr userDrawn="1"/>
          </p:nvCxnSpPr>
          <p:spPr>
            <a:xfrm flipV="1">
              <a:off x="-2453902" y="1030591"/>
              <a:ext cx="505426" cy="283623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  <a:headEnd type="oval"/>
            </a:ln>
            <a:effectLst/>
          </p:spPr>
        </p:cxnSp>
        <p:sp>
          <p:nvSpPr>
            <p:cNvPr id="130" name="Textfield placeholder">
              <a:extLst>
                <a:ext uri="{FF2B5EF4-FFF2-40B4-BE49-F238E27FC236}">
                  <a16:creationId xmlns:a16="http://schemas.microsoft.com/office/drawing/2014/main" xmlns="" id="{055B4BE0-A522-6641-A8E6-23505AEA200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341598" y="816743"/>
              <a:ext cx="1056968" cy="427698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iveau omhoog</a:t>
              </a:r>
            </a:p>
          </p:txBody>
        </p:sp>
        <p:sp>
          <p:nvSpPr>
            <p:cNvPr id="131" name="Textfield placeholder">
              <a:extLst>
                <a:ext uri="{FF2B5EF4-FFF2-40B4-BE49-F238E27FC236}">
                  <a16:creationId xmlns:a16="http://schemas.microsoft.com/office/drawing/2014/main" xmlns="" id="{EE05187C-E65D-634A-A9CA-92FEDDBBEDD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341599" y="1281164"/>
              <a:ext cx="1070223" cy="42769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87016" rtl="0" eaLnBrk="1" fontAlgn="auto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Tx/>
                <a:buSzPct val="80000"/>
                <a:buFont typeface="Wingdings" pitchFamily="2" charset="2"/>
                <a:buNone/>
                <a:tabLst/>
                <a:defRPr/>
              </a:pPr>
              <a:r>
                <a:rPr kumimoji="0" lang="nl-N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iveau omlaag</a:t>
              </a:r>
            </a:p>
          </p:txBody>
        </p:sp>
        <p:sp>
          <p:nvSpPr>
            <p:cNvPr id="132" name="Ovaal 131">
              <a:extLst>
                <a:ext uri="{FF2B5EF4-FFF2-40B4-BE49-F238E27FC236}">
                  <a16:creationId xmlns:a16="http://schemas.microsoft.com/office/drawing/2014/main" xmlns="" id="{83AD11C3-3F0B-8B41-A6FF-62D5C7122FD3}"/>
                </a:ext>
              </a:extLst>
            </p:cNvPr>
            <p:cNvSpPr/>
            <p:nvPr userDrawn="1"/>
          </p:nvSpPr>
          <p:spPr>
            <a:xfrm>
              <a:off x="-2959433" y="3382082"/>
              <a:ext cx="260914" cy="259683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33" name="Textfield placeholder">
              <a:extLst>
                <a:ext uri="{FF2B5EF4-FFF2-40B4-BE49-F238E27FC236}">
                  <a16:creationId xmlns:a16="http://schemas.microsoft.com/office/drawing/2014/main" xmlns="" id="{03C0E7FC-C71E-9F43-86E3-FF07BE2C663A}"/>
                </a:ext>
              </a:extLst>
            </p:cNvPr>
            <p:cNvSpPr txBox="1">
              <a:spLocks/>
            </p:cNvSpPr>
            <p:nvPr/>
          </p:nvSpPr>
          <p:spPr>
            <a:xfrm>
              <a:off x="-2571950" y="3382082"/>
              <a:ext cx="2163709" cy="2596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SzPct val="80000"/>
                <a:buFont typeface="Wingdings" pitchFamily="2" charset="2"/>
                <a:buNone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tx2"/>
                </a:buClr>
                <a:buSzPct val="80000"/>
                <a:buFontTx/>
                <a:buBlip>
                  <a:blip r:embed="rId2"/>
                </a:buBlip>
                <a:tabLst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96875" indent="-160338" algn="l" defTabSz="1087016" rtl="0" eaLnBrk="1" latinLnBrk="0" hangingPunct="1">
                <a:lnSpc>
                  <a:spcPts val="1600"/>
                </a:lnSpc>
                <a:spcBef>
                  <a:spcPts val="200"/>
                </a:spcBef>
                <a:spcAft>
                  <a:spcPts val="200"/>
                </a:spcAft>
                <a:buClr>
                  <a:schemeClr val="tx2"/>
                </a:buClr>
                <a:buFont typeface="Trebuchet MS" pitchFamily="34" charset="0"/>
                <a:buChar char="−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1087016" rtl="0" eaLnBrk="1" latinLnBrk="0" hangingPunct="1">
                <a:lnSpc>
                  <a:spcPts val="1800"/>
                </a:lnSpc>
                <a:spcBef>
                  <a:spcPts val="4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1087016" rtl="0" eaLnBrk="1" latinLnBrk="0" hangingPunct="1">
                <a:lnSpc>
                  <a:spcPts val="3800"/>
                </a:lnSpc>
                <a:spcBef>
                  <a:spcPts val="1200"/>
                </a:spcBef>
                <a:spcAft>
                  <a:spcPts val="400"/>
                </a:spcAft>
                <a:buFont typeface="Wingdings" pitchFamily="2" charset="2"/>
                <a:buNone/>
                <a:defRPr sz="16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1087016" rtl="0" eaLnBrk="1" latinLnBrk="0" hangingPunct="1">
                <a:lnSpc>
                  <a:spcPct val="250000"/>
                </a:lnSpc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2000" kern="1200" cap="all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3532800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076308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619815" indent="-271753" algn="l" defTabSz="1087016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3" indent="0" algn="l" defTabSz="914400" rtl="0" eaLnBrk="1" fontAlgn="auto" latinLnBrk="0" hangingPunct="1">
                <a:lnSpc>
                  <a:spcPts val="17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Kop (20 </a:t>
              </a:r>
              <a:r>
                <a:rPr kumimoji="0" lang="nl-NL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t</a:t>
              </a: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.)</a:t>
              </a:r>
            </a:p>
          </p:txBody>
        </p:sp>
        <p:grpSp>
          <p:nvGrpSpPr>
            <p:cNvPr id="134" name="Groep 133">
              <a:extLst>
                <a:ext uri="{FF2B5EF4-FFF2-40B4-BE49-F238E27FC236}">
                  <a16:creationId xmlns:a16="http://schemas.microsoft.com/office/drawing/2014/main" xmlns="" id="{A9069CCF-E13F-D94C-8E8D-FA3A4D8C6FF0}"/>
                </a:ext>
              </a:extLst>
            </p:cNvPr>
            <p:cNvGrpSpPr/>
            <p:nvPr/>
          </p:nvGrpSpPr>
          <p:grpSpPr>
            <a:xfrm>
              <a:off x="-2950232" y="816050"/>
              <a:ext cx="528695" cy="344202"/>
              <a:chOff x="-2880382" y="410556"/>
              <a:chExt cx="528695" cy="344202"/>
            </a:xfrm>
          </p:grpSpPr>
          <p:sp>
            <p:nvSpPr>
              <p:cNvPr id="136" name="Afgeronde rechthoek 135">
                <a:extLst>
                  <a:ext uri="{FF2B5EF4-FFF2-40B4-BE49-F238E27FC236}">
                    <a16:creationId xmlns:a16="http://schemas.microsoft.com/office/drawing/2014/main" xmlns="" id="{921E98A1-A4B5-914B-82F1-D4A4A4C4FAE5}"/>
                  </a:ext>
                </a:extLst>
              </p:cNvPr>
              <p:cNvSpPr/>
              <p:nvPr/>
            </p:nvSpPr>
            <p:spPr>
              <a:xfrm>
                <a:off x="-2874214" y="410556"/>
                <a:ext cx="522527" cy="339183"/>
              </a:xfrm>
              <a:prstGeom prst="roundRect">
                <a:avLst>
                  <a:gd name="adj" fmla="val 7565"/>
                </a:avLst>
              </a:prstGeom>
              <a:gradFill>
                <a:gsLst>
                  <a:gs pos="0">
                    <a:srgbClr val="FFEC8F"/>
                  </a:gs>
                  <a:gs pos="100000">
                    <a:srgbClr val="FFFFFF"/>
                  </a:gs>
                </a:gsLst>
                <a:lin ang="5400000" scaled="0"/>
              </a:gra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NL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Light"/>
                  <a:ea typeface="+mn-ea"/>
                  <a:cs typeface="+mn-cs"/>
                </a:endParaRPr>
              </a:p>
            </p:txBody>
          </p:sp>
          <p:sp>
            <p:nvSpPr>
              <p:cNvPr id="137" name="Vrije vorm 136">
                <a:extLst>
                  <a:ext uri="{FF2B5EF4-FFF2-40B4-BE49-F238E27FC236}">
                    <a16:creationId xmlns:a16="http://schemas.microsoft.com/office/drawing/2014/main" xmlns="" id="{390DD4FC-FBBA-2C44-83BE-1380F9E75880}"/>
                  </a:ext>
                </a:extLst>
              </p:cNvPr>
              <p:cNvSpPr/>
              <p:nvPr/>
            </p:nvSpPr>
            <p:spPr>
              <a:xfrm>
                <a:off x="-2880382" y="452699"/>
                <a:ext cx="528695" cy="302059"/>
              </a:xfrm>
              <a:custGeom>
                <a:avLst/>
                <a:gdLst>
                  <a:gd name="connsiteX0" fmla="*/ 55524 w 528695"/>
                  <a:gd name="connsiteY0" fmla="*/ 0 h 302059"/>
                  <a:gd name="connsiteX1" fmla="*/ 455496 w 528695"/>
                  <a:gd name="connsiteY1" fmla="*/ 0 h 302059"/>
                  <a:gd name="connsiteX2" fmla="*/ 475205 w 528695"/>
                  <a:gd name="connsiteY2" fmla="*/ 19709 h 302059"/>
                  <a:gd name="connsiteX3" fmla="*/ 475205 w 528695"/>
                  <a:gd name="connsiteY3" fmla="*/ 230056 h 302059"/>
                  <a:gd name="connsiteX4" fmla="*/ 516694 w 528695"/>
                  <a:gd name="connsiteY4" fmla="*/ 230056 h 302059"/>
                  <a:gd name="connsiteX5" fmla="*/ 528695 w 528695"/>
                  <a:gd name="connsiteY5" fmla="*/ 242057 h 302059"/>
                  <a:gd name="connsiteX6" fmla="*/ 528695 w 528695"/>
                  <a:gd name="connsiteY6" fmla="*/ 290058 h 302059"/>
                  <a:gd name="connsiteX7" fmla="*/ 516694 w 528695"/>
                  <a:gd name="connsiteY7" fmla="*/ 302059 h 302059"/>
                  <a:gd name="connsiteX8" fmla="*/ 12001 w 528695"/>
                  <a:gd name="connsiteY8" fmla="*/ 302059 h 302059"/>
                  <a:gd name="connsiteX9" fmla="*/ 0 w 528695"/>
                  <a:gd name="connsiteY9" fmla="*/ 290058 h 302059"/>
                  <a:gd name="connsiteX10" fmla="*/ 0 w 528695"/>
                  <a:gd name="connsiteY10" fmla="*/ 242057 h 302059"/>
                  <a:gd name="connsiteX11" fmla="*/ 12001 w 528695"/>
                  <a:gd name="connsiteY11" fmla="*/ 230056 h 302059"/>
                  <a:gd name="connsiteX12" fmla="*/ 35815 w 528695"/>
                  <a:gd name="connsiteY12" fmla="*/ 230056 h 302059"/>
                  <a:gd name="connsiteX13" fmla="*/ 35815 w 528695"/>
                  <a:gd name="connsiteY13" fmla="*/ 19709 h 302059"/>
                  <a:gd name="connsiteX14" fmla="*/ 55524 w 528695"/>
                  <a:gd name="connsiteY14" fmla="*/ 0 h 3020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28695" h="302059">
                    <a:moveTo>
                      <a:pt x="55524" y="0"/>
                    </a:moveTo>
                    <a:lnTo>
                      <a:pt x="455496" y="0"/>
                    </a:lnTo>
                    <a:cubicBezTo>
                      <a:pt x="466381" y="0"/>
                      <a:pt x="475205" y="8824"/>
                      <a:pt x="475205" y="19709"/>
                    </a:cubicBezTo>
                    <a:lnTo>
                      <a:pt x="475205" y="230056"/>
                    </a:lnTo>
                    <a:lnTo>
                      <a:pt x="516694" y="230056"/>
                    </a:lnTo>
                    <a:cubicBezTo>
                      <a:pt x="523322" y="230056"/>
                      <a:pt x="528695" y="235429"/>
                      <a:pt x="528695" y="242057"/>
                    </a:cubicBezTo>
                    <a:lnTo>
                      <a:pt x="528695" y="290058"/>
                    </a:lnTo>
                    <a:cubicBezTo>
                      <a:pt x="528695" y="296686"/>
                      <a:pt x="523322" y="302059"/>
                      <a:pt x="516694" y="302059"/>
                    </a:cubicBezTo>
                    <a:lnTo>
                      <a:pt x="12001" y="302059"/>
                    </a:lnTo>
                    <a:cubicBezTo>
                      <a:pt x="5373" y="302059"/>
                      <a:pt x="0" y="296686"/>
                      <a:pt x="0" y="290058"/>
                    </a:cubicBezTo>
                    <a:lnTo>
                      <a:pt x="0" y="242057"/>
                    </a:lnTo>
                    <a:cubicBezTo>
                      <a:pt x="0" y="235429"/>
                      <a:pt x="5373" y="230056"/>
                      <a:pt x="12001" y="230056"/>
                    </a:cubicBezTo>
                    <a:lnTo>
                      <a:pt x="35815" y="230056"/>
                    </a:lnTo>
                    <a:lnTo>
                      <a:pt x="35815" y="19709"/>
                    </a:lnTo>
                    <a:cubicBezTo>
                      <a:pt x="35815" y="8824"/>
                      <a:pt x="44639" y="0"/>
                      <a:pt x="55524" y="0"/>
                    </a:cubicBezTo>
                    <a:close/>
                  </a:path>
                </a:pathLst>
              </a:custGeom>
              <a:solidFill>
                <a:sysClr val="window" lastClr="FFFFFF">
                  <a:lumMod val="95000"/>
                </a:sysClr>
              </a:solidFill>
              <a:ln w="9525" cap="flat" cmpd="sng" algn="ctr">
                <a:solidFill>
                  <a:srgbClr val="FFFFFF">
                    <a:lumMod val="90000"/>
                  </a:srgbClr>
                </a:solidFill>
                <a:prstDash val="solid"/>
                <a:miter lim="800000"/>
              </a:ln>
              <a:effectLst/>
            </p:spPr>
            <p:txBody>
              <a:bodyPr rot="0" spcFirstLastPara="0" vert="horz" wrap="square" lIns="108000" tIns="36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nl-NL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Light"/>
                    <a:ea typeface="+mn-ea"/>
                    <a:cs typeface="+mn-cs"/>
                  </a:rPr>
                  <a:t>Start</a:t>
                </a:r>
              </a:p>
            </p:txBody>
          </p:sp>
        </p:grpSp>
        <p:sp>
          <p:nvSpPr>
            <p:cNvPr id="135" name="Tekstvak 33">
              <a:extLst>
                <a:ext uri="{FF2B5EF4-FFF2-40B4-BE49-F238E27FC236}">
                  <a16:creationId xmlns:a16="http://schemas.microsoft.com/office/drawing/2014/main" xmlns="" id="{C3AF0BE4-5854-D348-92A4-3B6862EE6292}"/>
                </a:ext>
              </a:extLst>
            </p:cNvPr>
            <p:cNvSpPr txBox="1"/>
            <p:nvPr userDrawn="1"/>
          </p:nvSpPr>
          <p:spPr>
            <a:xfrm>
              <a:off x="-2959433" y="372104"/>
              <a:ext cx="2679887" cy="45339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a naar de tab </a:t>
              </a:r>
              <a:r>
                <a:rPr kumimoji="0" lang="nl-NL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tart’ </a:t>
              </a:r>
              <a:r>
                <a:rPr kumimoji="0" lang="nl-NL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en vind onderstaande knoppen onder </a:t>
              </a:r>
              <a:r>
                <a:rPr kumimoji="0" lang="nl-NL" sz="1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‘Alinea’</a:t>
              </a:r>
            </a:p>
          </p:txBody>
        </p:sp>
      </p:grpSp>
      <p:grpSp>
        <p:nvGrpSpPr>
          <p:cNvPr id="186" name="Groep 185">
            <a:extLst>
              <a:ext uri="{FF2B5EF4-FFF2-40B4-BE49-F238E27FC236}">
                <a16:creationId xmlns:a16="http://schemas.microsoft.com/office/drawing/2014/main" xmlns="" id="{AC896FF0-987B-6F46-8C4C-6F019D5AADA8}"/>
              </a:ext>
            </a:extLst>
          </p:cNvPr>
          <p:cNvGrpSpPr/>
          <p:nvPr userDrawn="1"/>
        </p:nvGrpSpPr>
        <p:grpSpPr>
          <a:xfrm>
            <a:off x="12337391" y="14897"/>
            <a:ext cx="2814164" cy="6848547"/>
            <a:chOff x="12337391" y="14897"/>
            <a:chExt cx="2814164" cy="6848547"/>
          </a:xfrm>
        </p:grpSpPr>
        <p:grpSp>
          <p:nvGrpSpPr>
            <p:cNvPr id="187" name="Groep 186">
              <a:extLst>
                <a:ext uri="{FF2B5EF4-FFF2-40B4-BE49-F238E27FC236}">
                  <a16:creationId xmlns:a16="http://schemas.microsoft.com/office/drawing/2014/main" xmlns="" id="{AB595BA1-D6FC-AB4F-BE60-4B363347ADE8}"/>
                </a:ext>
              </a:extLst>
            </p:cNvPr>
            <p:cNvGrpSpPr/>
            <p:nvPr userDrawn="1"/>
          </p:nvGrpSpPr>
          <p:grpSpPr>
            <a:xfrm>
              <a:off x="12434693" y="14897"/>
              <a:ext cx="2716862" cy="5621628"/>
              <a:chOff x="12434693" y="14897"/>
              <a:chExt cx="2716862" cy="5621628"/>
            </a:xfrm>
          </p:grpSpPr>
          <p:sp>
            <p:nvSpPr>
              <p:cNvPr id="197" name="Rechthoek 196">
                <a:extLst>
                  <a:ext uri="{FF2B5EF4-FFF2-40B4-BE49-F238E27FC236}">
                    <a16:creationId xmlns:a16="http://schemas.microsoft.com/office/drawing/2014/main" xmlns="" id="{33AC47F6-0B75-494E-B928-57A459F0791F}"/>
                  </a:ext>
                </a:extLst>
              </p:cNvPr>
              <p:cNvSpPr/>
              <p:nvPr/>
            </p:nvSpPr>
            <p:spPr>
              <a:xfrm>
                <a:off x="12441150" y="14897"/>
                <a:ext cx="2696270" cy="16177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80000"/>
                  </a:lnSpc>
                </a:pPr>
                <a:r>
                  <a:rPr lang="nl-NL" sz="1600" b="1" kern="0" cap="all" baseline="0" noProof="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FBEELDING INVOEGEN</a:t>
                </a:r>
              </a:p>
            </p:txBody>
          </p:sp>
          <p:sp>
            <p:nvSpPr>
              <p:cNvPr id="198" name="Tekstvak 33">
                <a:extLst>
                  <a:ext uri="{FF2B5EF4-FFF2-40B4-BE49-F238E27FC236}">
                    <a16:creationId xmlns:a16="http://schemas.microsoft.com/office/drawing/2014/main" xmlns="" id="{99D510C3-A3E8-DC42-B007-9F9325A22B18}"/>
                  </a:ext>
                </a:extLst>
              </p:cNvPr>
              <p:cNvSpPr txBox="1"/>
              <p:nvPr/>
            </p:nvSpPr>
            <p:spPr>
              <a:xfrm>
                <a:off x="12441149" y="814239"/>
                <a:ext cx="2710405" cy="7198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ndien nodig, verwijder de bestaande afbeelding. Klik op het pictogram </a:t>
                </a:r>
                <a:b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om een afbeelding in te voegen</a:t>
                </a:r>
                <a:b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nl-NL" sz="1100" i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(zie onderstaand voorbeeld).</a:t>
                </a:r>
              </a:p>
            </p:txBody>
          </p:sp>
          <p:sp>
            <p:nvSpPr>
              <p:cNvPr id="199" name="Tekstvak 33">
                <a:extLst>
                  <a:ext uri="{FF2B5EF4-FFF2-40B4-BE49-F238E27FC236}">
                    <a16:creationId xmlns:a16="http://schemas.microsoft.com/office/drawing/2014/main" xmlns="" id="{AE61C70C-97B9-6748-AAF5-817430C6D754}"/>
                  </a:ext>
                </a:extLst>
              </p:cNvPr>
              <p:cNvSpPr txBox="1"/>
              <p:nvPr/>
            </p:nvSpPr>
            <p:spPr>
              <a:xfrm>
                <a:off x="12441149" y="2793904"/>
                <a:ext cx="2710405" cy="395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electeer de afbeelding die u wilt invoegen en klik op </a:t>
                </a:r>
                <a:r>
                  <a:rPr lang="nl-NL" sz="1200" b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Invoegen’</a:t>
                </a:r>
              </a:p>
            </p:txBody>
          </p:sp>
          <p:sp>
            <p:nvSpPr>
              <p:cNvPr id="200" name="Ovaal 199">
                <a:extLst>
                  <a:ext uri="{FF2B5EF4-FFF2-40B4-BE49-F238E27FC236}">
                    <a16:creationId xmlns:a16="http://schemas.microsoft.com/office/drawing/2014/main" xmlns="" id="{758DEA72-7DBF-3B4B-9820-EF57F7557EF0}"/>
                  </a:ext>
                </a:extLst>
              </p:cNvPr>
              <p:cNvSpPr/>
              <p:nvPr/>
            </p:nvSpPr>
            <p:spPr>
              <a:xfrm>
                <a:off x="12441150" y="379292"/>
                <a:ext cx="327206" cy="32720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sp>
            <p:nvSpPr>
              <p:cNvPr id="201" name="Ovaal 200">
                <a:extLst>
                  <a:ext uri="{FF2B5EF4-FFF2-40B4-BE49-F238E27FC236}">
                    <a16:creationId xmlns:a16="http://schemas.microsoft.com/office/drawing/2014/main" xmlns="" id="{C7E0AC44-CF64-494B-840C-3D3BAFB7F5B6}"/>
                  </a:ext>
                </a:extLst>
              </p:cNvPr>
              <p:cNvSpPr/>
              <p:nvPr/>
            </p:nvSpPr>
            <p:spPr>
              <a:xfrm>
                <a:off x="12441150" y="2337208"/>
                <a:ext cx="327206" cy="32720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cxnSp>
            <p:nvCxnSpPr>
              <p:cNvPr id="202" name="Rechte verbindingslijn 201">
                <a:extLst>
                  <a:ext uri="{FF2B5EF4-FFF2-40B4-BE49-F238E27FC236}">
                    <a16:creationId xmlns:a16="http://schemas.microsoft.com/office/drawing/2014/main" xmlns="" id="{58B854C0-D37D-BE49-A91E-1DA77589E835}"/>
                  </a:ext>
                </a:extLst>
              </p:cNvPr>
              <p:cNvCxnSpPr/>
              <p:nvPr/>
            </p:nvCxnSpPr>
            <p:spPr>
              <a:xfrm>
                <a:off x="12441150" y="248176"/>
                <a:ext cx="271040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cxnSp>
            <p:nvCxnSpPr>
              <p:cNvPr id="203" name="Rechte verbindingslijn 202">
                <a:extLst>
                  <a:ext uri="{FF2B5EF4-FFF2-40B4-BE49-F238E27FC236}">
                    <a16:creationId xmlns:a16="http://schemas.microsoft.com/office/drawing/2014/main" xmlns="" id="{619F47AE-EC7E-2E4A-A5E1-55EA5DC3C80B}"/>
                  </a:ext>
                </a:extLst>
              </p:cNvPr>
              <p:cNvCxnSpPr/>
              <p:nvPr/>
            </p:nvCxnSpPr>
            <p:spPr>
              <a:xfrm>
                <a:off x="12441149" y="2212830"/>
                <a:ext cx="271040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cxnSp>
            <p:nvCxnSpPr>
              <p:cNvPr id="204" name="Rechte verbindingslijn 203">
                <a:extLst>
                  <a:ext uri="{FF2B5EF4-FFF2-40B4-BE49-F238E27FC236}">
                    <a16:creationId xmlns:a16="http://schemas.microsoft.com/office/drawing/2014/main" xmlns="" id="{573E3278-5BC9-C04E-A5BE-CF7A34AA5A9A}"/>
                  </a:ext>
                </a:extLst>
              </p:cNvPr>
              <p:cNvCxnSpPr/>
              <p:nvPr/>
            </p:nvCxnSpPr>
            <p:spPr>
              <a:xfrm>
                <a:off x="12444679" y="3732412"/>
                <a:ext cx="270687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pic>
            <p:nvPicPr>
              <p:cNvPr id="205" name="Icoontje afbeelding">
                <a:extLst>
                  <a:ext uri="{FF2B5EF4-FFF2-40B4-BE49-F238E27FC236}">
                    <a16:creationId xmlns:a16="http://schemas.microsoft.com/office/drawing/2014/main" xmlns="" id="{C31855AD-FECE-0A47-9F08-0FDE51CE7F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434693" y="1677764"/>
                <a:ext cx="403210" cy="403210"/>
              </a:xfrm>
              <a:prstGeom prst="rect">
                <a:avLst/>
              </a:prstGeom>
            </p:spPr>
          </p:pic>
          <p:grpSp>
            <p:nvGrpSpPr>
              <p:cNvPr id="206" name="Groep 205">
                <a:extLst>
                  <a:ext uri="{FF2B5EF4-FFF2-40B4-BE49-F238E27FC236}">
                    <a16:creationId xmlns:a16="http://schemas.microsoft.com/office/drawing/2014/main" xmlns="" id="{19AB7161-F4D9-904A-9C5E-E374629153AB}"/>
                  </a:ext>
                </a:extLst>
              </p:cNvPr>
              <p:cNvGrpSpPr/>
              <p:nvPr/>
            </p:nvGrpSpPr>
            <p:grpSpPr>
              <a:xfrm>
                <a:off x="12450571" y="3301369"/>
                <a:ext cx="1002992" cy="267962"/>
                <a:chOff x="13560784" y="3471416"/>
                <a:chExt cx="1114138" cy="297656"/>
              </a:xfrm>
            </p:grpSpPr>
            <p:sp>
              <p:nvSpPr>
                <p:cNvPr id="209" name="Afgeronde rechthoek 208">
                  <a:extLst>
                    <a:ext uri="{FF2B5EF4-FFF2-40B4-BE49-F238E27FC236}">
                      <a16:creationId xmlns:a16="http://schemas.microsoft.com/office/drawing/2014/main" xmlns="" id="{B11E2928-39B0-AE43-AA36-9B3FC2B00799}"/>
                    </a:ext>
                  </a:extLst>
                </p:cNvPr>
                <p:cNvSpPr/>
                <p:nvPr/>
              </p:nvSpPr>
              <p:spPr>
                <a:xfrm>
                  <a:off x="13560784" y="3471416"/>
                  <a:ext cx="1114138" cy="297656"/>
                </a:xfrm>
                <a:prstGeom prst="roundRect">
                  <a:avLst/>
                </a:prstGeom>
                <a:gradFill flip="none" rotWithShape="1">
                  <a:gsLst>
                    <a:gs pos="4000">
                      <a:srgbClr val="00B0F0"/>
                    </a:gs>
                    <a:gs pos="0">
                      <a:srgbClr val="0070C0"/>
                    </a:gs>
                    <a:gs pos="100000">
                      <a:srgbClr val="0070C0"/>
                    </a:gs>
                    <a:gs pos="12000">
                      <a:srgbClr val="D1EAFF"/>
                    </a:gs>
                    <a:gs pos="96000">
                      <a:srgbClr val="00B0F0"/>
                    </a:gs>
                    <a:gs pos="89000">
                      <a:srgbClr val="DDF4FF"/>
                    </a:gs>
                    <a:gs pos="43000">
                      <a:srgbClr val="D1EAFF"/>
                    </a:gs>
                    <a:gs pos="51000">
                      <a:srgbClr val="DDF4FF"/>
                    </a:gs>
                  </a:gsLst>
                  <a:lin ang="16200000" scaled="1"/>
                  <a:tileRect/>
                </a:gradFill>
                <a:ln w="63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 dirty="0">
                    <a:latin typeface="+mn-lt"/>
                  </a:endParaRPr>
                </a:p>
              </p:txBody>
            </p:sp>
            <p:sp>
              <p:nvSpPr>
                <p:cNvPr id="210" name="Tekstvak 209">
                  <a:extLst>
                    <a:ext uri="{FF2B5EF4-FFF2-40B4-BE49-F238E27FC236}">
                      <a16:creationId xmlns:a16="http://schemas.microsoft.com/office/drawing/2014/main" xmlns="" id="{9CCD70DE-5AB5-114B-8BC6-DECC03694030}"/>
                    </a:ext>
                  </a:extLst>
                </p:cNvPr>
                <p:cNvSpPr txBox="1"/>
                <p:nvPr/>
              </p:nvSpPr>
              <p:spPr>
                <a:xfrm>
                  <a:off x="13573594" y="3488254"/>
                  <a:ext cx="888311" cy="273506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>
                  <a:defPPr>
                    <a:defRPr lang="nl-NL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900" i="0" u="none" strike="noStrike" kern="0" cap="none" spc="0" normalizeH="0" baseline="0">
                      <a:ln>
                        <a:noFill/>
                      </a:ln>
                      <a:effectLst>
                        <a:outerShdw blurRad="25400" algn="ctr" rotWithShape="0">
                          <a:prstClr val="white"/>
                        </a:outerShdw>
                      </a:effectLst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5pPr>
                  <a:lvl6pPr>
                    <a:defRPr>
                      <a:latin typeface="Arial" charset="0"/>
                      <a:cs typeface="Arial" charset="0"/>
                    </a:defRPr>
                  </a:lvl6pPr>
                  <a:lvl7pPr>
                    <a:defRPr>
                      <a:latin typeface="Arial" charset="0"/>
                      <a:cs typeface="Arial" charset="0"/>
                    </a:defRPr>
                  </a:lvl7pPr>
                  <a:lvl8pPr>
                    <a:defRPr>
                      <a:latin typeface="Arial" charset="0"/>
                      <a:cs typeface="Arial" charset="0"/>
                    </a:defRPr>
                  </a:lvl8pPr>
                  <a:lvl9pPr>
                    <a:defRPr>
                      <a:latin typeface="Arial" charset="0"/>
                      <a:cs typeface="Arial" charset="0"/>
                    </a:defRPr>
                  </a:lvl9pPr>
                </a:lstStyle>
                <a:p>
                  <a:r>
                    <a:rPr lang="nl-NL" sz="1000" noProof="0" dirty="0">
                      <a:solidFill>
                        <a:schemeClr val="accent5"/>
                      </a:solidFill>
                      <a:latin typeface="+mn-lt"/>
                    </a:rPr>
                    <a:t>Invoegen</a:t>
                  </a:r>
                </a:p>
              </p:txBody>
            </p:sp>
            <p:cxnSp>
              <p:nvCxnSpPr>
                <p:cNvPr id="211" name="Rechte verbindingslijn 210">
                  <a:extLst>
                    <a:ext uri="{FF2B5EF4-FFF2-40B4-BE49-F238E27FC236}">
                      <a16:creationId xmlns:a16="http://schemas.microsoft.com/office/drawing/2014/main" xmlns="" id="{9F75E8BC-9FBF-BD4A-8D25-5866549326BE}"/>
                    </a:ext>
                  </a:extLst>
                </p:cNvPr>
                <p:cNvCxnSpPr/>
                <p:nvPr/>
              </p:nvCxnSpPr>
              <p:spPr>
                <a:xfrm>
                  <a:off x="14461905" y="3507058"/>
                  <a:ext cx="0" cy="224432"/>
                </a:xfrm>
                <a:prstGeom prst="line">
                  <a:avLst/>
                </a:prstGeom>
                <a:ln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12" name="Gelijkbenige driehoek 112">
                  <a:extLst>
                    <a:ext uri="{FF2B5EF4-FFF2-40B4-BE49-F238E27FC236}">
                      <a16:creationId xmlns:a16="http://schemas.microsoft.com/office/drawing/2014/main" xmlns="" id="{BEA72233-07D4-6344-B103-6243D3F9B6B5}"/>
                    </a:ext>
                  </a:extLst>
                </p:cNvPr>
                <p:cNvSpPr/>
                <p:nvPr/>
              </p:nvSpPr>
              <p:spPr>
                <a:xfrm rot="10800000">
                  <a:off x="14518584" y="3600521"/>
                  <a:ext cx="105309" cy="57157"/>
                </a:xfrm>
                <a:prstGeom prst="triangl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noProof="0" dirty="0">
                    <a:latin typeface="+mn-lt"/>
                  </a:endParaRPr>
                </a:p>
              </p:txBody>
            </p:sp>
          </p:grpSp>
          <p:sp>
            <p:nvSpPr>
              <p:cNvPr id="207" name="Tekstvak 33">
                <a:extLst>
                  <a:ext uri="{FF2B5EF4-FFF2-40B4-BE49-F238E27FC236}">
                    <a16:creationId xmlns:a16="http://schemas.microsoft.com/office/drawing/2014/main" xmlns="" id="{B6C1F020-E7CE-4E4B-AE8A-CE20C50E2E26}"/>
                  </a:ext>
                </a:extLst>
              </p:cNvPr>
              <p:cNvSpPr txBox="1"/>
              <p:nvPr userDrawn="1"/>
            </p:nvSpPr>
            <p:spPr>
              <a:xfrm>
                <a:off x="12441149" y="4324894"/>
                <a:ext cx="2710405" cy="131163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ls u de afbeelding wilt schalen of verslepen, ga naar </a:t>
                </a:r>
                <a:r>
                  <a:rPr lang="nl-NL" sz="1200" b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Hulpmiddelen voor afbeeldingen’ </a:t>
                </a: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n klik op </a:t>
                </a:r>
                <a:r>
                  <a:rPr lang="nl-NL" sz="1200" b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Bijsnijden’.</a:t>
                </a:r>
              </a:p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et de witte bolletjes schaalt u de afbeelding, met de zwarte haakjes </a:t>
                </a:r>
              </a:p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chaalt u het afbeeldingskader.</a:t>
                </a:r>
              </a:p>
            </p:txBody>
          </p:sp>
          <p:sp>
            <p:nvSpPr>
              <p:cNvPr id="208" name="Ovaal 207">
                <a:extLst>
                  <a:ext uri="{FF2B5EF4-FFF2-40B4-BE49-F238E27FC236}">
                    <a16:creationId xmlns:a16="http://schemas.microsoft.com/office/drawing/2014/main" xmlns="" id="{F42EAA49-4889-504C-A062-13C22F80273A}"/>
                  </a:ext>
                </a:extLst>
              </p:cNvPr>
              <p:cNvSpPr/>
              <p:nvPr userDrawn="1"/>
            </p:nvSpPr>
            <p:spPr>
              <a:xfrm>
                <a:off x="12441150" y="3868198"/>
                <a:ext cx="327206" cy="32720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</p:grpSp>
        <p:grpSp>
          <p:nvGrpSpPr>
            <p:cNvPr id="188" name="bijsnijden">
              <a:extLst>
                <a:ext uri="{FF2B5EF4-FFF2-40B4-BE49-F238E27FC236}">
                  <a16:creationId xmlns:a16="http://schemas.microsoft.com/office/drawing/2014/main" xmlns="" id="{BDC51C56-5C81-0144-8908-9F449DF4188F}"/>
                </a:ext>
              </a:extLst>
            </p:cNvPr>
            <p:cNvGrpSpPr/>
            <p:nvPr userDrawn="1"/>
          </p:nvGrpSpPr>
          <p:grpSpPr>
            <a:xfrm>
              <a:off x="12337391" y="5828002"/>
              <a:ext cx="857410" cy="828260"/>
              <a:chOff x="13104065" y="5655940"/>
              <a:chExt cx="857410" cy="828260"/>
            </a:xfrm>
          </p:grpSpPr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xmlns="" id="{164C139E-2EF9-A549-8B5F-7DCDE639E8D7}"/>
                  </a:ext>
                </a:extLst>
              </p:cNvPr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xmlns="" id="{71C0D59C-118B-E547-8AB0-ABB37DC8673B}"/>
                    </a:ext>
                  </a:extLst>
                </p:cNvPr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accent5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194" name="Afbeelding 193">
                  <a:extLst>
                    <a:ext uri="{FF2B5EF4-FFF2-40B4-BE49-F238E27FC236}">
                      <a16:creationId xmlns:a16="http://schemas.microsoft.com/office/drawing/2014/main" xmlns="" id="{EA0B6C4A-9C0F-7640-A6A6-92F31932A41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accent5"/>
                  </a:solidFill>
                </a:ln>
              </p:spPr>
            </p:pic>
            <p:sp>
              <p:nvSpPr>
                <p:cNvPr id="195" name="L-vorm 194">
                  <a:extLst>
                    <a:ext uri="{FF2B5EF4-FFF2-40B4-BE49-F238E27FC236}">
                      <a16:creationId xmlns:a16="http://schemas.microsoft.com/office/drawing/2014/main" xmlns="" id="{6E21FA48-2FA7-5C4D-A26C-94774FEFB901}"/>
                    </a:ext>
                  </a:extLst>
                </p:cNvPr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96" name="L-vorm 195">
                  <a:extLst>
                    <a:ext uri="{FF2B5EF4-FFF2-40B4-BE49-F238E27FC236}">
                      <a16:creationId xmlns:a16="http://schemas.microsoft.com/office/drawing/2014/main" xmlns="" id="{D6C3A3F9-99DB-FF41-AAC5-07FD63D39823}"/>
                    </a:ext>
                  </a:extLst>
                </p:cNvPr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191" name="Tekstvak 76">
                <a:extLst>
                  <a:ext uri="{FF2B5EF4-FFF2-40B4-BE49-F238E27FC236}">
                    <a16:creationId xmlns:a16="http://schemas.microsoft.com/office/drawing/2014/main" xmlns="" id="{D53D9679-4599-FD4D-9D5F-9958D1FE91DA}"/>
                  </a:ext>
                </a:extLst>
              </p:cNvPr>
              <p:cNvSpPr txBox="1"/>
              <p:nvPr userDrawn="1"/>
            </p:nvSpPr>
            <p:spPr>
              <a:xfrm>
                <a:off x="13104065" y="6172998"/>
                <a:ext cx="857410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1" i="0" u="none" strike="noStrike" kern="0" cap="none" spc="0" normalizeH="0" baseline="0" dirty="0">
                    <a:ln>
                      <a:noFill/>
                    </a:ln>
                    <a:solidFill>
                      <a:schemeClr val="accent5"/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Bijsnijden</a:t>
                </a:r>
              </a:p>
            </p:txBody>
          </p:sp>
          <p:sp>
            <p:nvSpPr>
              <p:cNvPr id="192" name="Rechthoekige driehoek 191">
                <a:extLst>
                  <a:ext uri="{FF2B5EF4-FFF2-40B4-BE49-F238E27FC236}">
                    <a16:creationId xmlns:a16="http://schemas.microsoft.com/office/drawing/2014/main" xmlns="" id="{92B13799-D01F-6543-A4FB-DC2D5A140D7F}"/>
                  </a:ext>
                </a:extLst>
              </p:cNvPr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cs typeface="Segoe UI Light" panose="020B0502040204020203" pitchFamily="34" charset="0"/>
                </a:endParaRPr>
              </a:p>
            </p:txBody>
          </p:sp>
        </p:grpSp>
        <p:cxnSp>
          <p:nvCxnSpPr>
            <p:cNvPr id="189" name="Rechte verbindingslijn 188">
              <a:extLst>
                <a:ext uri="{FF2B5EF4-FFF2-40B4-BE49-F238E27FC236}">
                  <a16:creationId xmlns:a16="http://schemas.microsoft.com/office/drawing/2014/main" xmlns="" id="{8F23E15F-2E8D-2C4A-A8E5-6F9E25C62D37}"/>
                </a:ext>
              </a:extLst>
            </p:cNvPr>
            <p:cNvCxnSpPr/>
            <p:nvPr userDrawn="1"/>
          </p:nvCxnSpPr>
          <p:spPr>
            <a:xfrm>
              <a:off x="12446162" y="6863444"/>
              <a:ext cx="2704546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883175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eld &amp; Tekst (25%/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Tekstvak 202"/>
          <p:cNvSpPr txBox="1"/>
          <p:nvPr userDrawn="1"/>
        </p:nvSpPr>
        <p:spPr>
          <a:xfrm>
            <a:off x="-85057" y="-437946"/>
            <a:ext cx="30015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0" i="0" dirty="0">
                <a:solidFill>
                  <a:schemeClr val="accent5"/>
                </a:solidFill>
                <a:latin typeface="Arial"/>
                <a:cs typeface="Arial"/>
              </a:rPr>
              <a:t>BEELD &amp;</a:t>
            </a:r>
            <a:r>
              <a:rPr lang="en-GB" sz="1600" b="0" i="0" baseline="0" dirty="0">
                <a:solidFill>
                  <a:schemeClr val="accent5"/>
                </a:solidFill>
                <a:latin typeface="Arial"/>
                <a:cs typeface="Arial"/>
              </a:rPr>
              <a:t> TEKST </a:t>
            </a:r>
            <a:r>
              <a:rPr lang="en-GB" sz="1600" b="0" i="0" dirty="0">
                <a:solidFill>
                  <a:schemeClr val="accent5"/>
                </a:solidFill>
                <a:latin typeface="Arial"/>
                <a:cs typeface="Arial"/>
              </a:rPr>
              <a:t>(25% - 75%)</a:t>
            </a:r>
          </a:p>
        </p:txBody>
      </p:sp>
      <p:sp>
        <p:nvSpPr>
          <p:cNvPr id="76" name="Rectangle 2">
            <a:extLst>
              <a:ext uri="{FF2B5EF4-FFF2-40B4-BE49-F238E27FC236}">
                <a16:creationId xmlns:a16="http://schemas.microsoft.com/office/drawing/2014/main" xmlns="" id="{F3C235AA-4BCA-5A46-8305-799CD6FCC29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577832" y="908719"/>
            <a:ext cx="7123679" cy="864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Titelstijl van model bewerken</a:t>
            </a:r>
          </a:p>
        </p:txBody>
      </p:sp>
      <p:sp>
        <p:nvSpPr>
          <p:cNvPr id="7" name="Tijdelijke aanduiding voor afbeelding 7">
            <a:extLst>
              <a:ext uri="{FF2B5EF4-FFF2-40B4-BE49-F238E27FC236}">
                <a16:creationId xmlns:a16="http://schemas.microsoft.com/office/drawing/2014/main" xmlns="" id="{586C2BC3-2FCC-C046-921C-7B1A0F49C00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8262" y="908890"/>
            <a:ext cx="3886293" cy="5051676"/>
          </a:xfrm>
          <a:prstGeom prst="roundRect">
            <a:avLst>
              <a:gd name="adj" fmla="val 0"/>
            </a:avLst>
          </a:prstGeom>
          <a:solidFill>
            <a:srgbClr val="EAEAEA"/>
          </a:solidFill>
        </p:spPr>
        <p:txBody>
          <a:bodyPr anchor="ctr"/>
          <a:lstStyle>
            <a:lvl1pPr marL="0" indent="0" algn="ctr">
              <a:lnSpc>
                <a:spcPct val="150000"/>
              </a:lnSpc>
              <a:buNone/>
              <a:defRPr sz="2000" b="0" i="0" baseline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afbeelding toe te voegen</a:t>
            </a:r>
          </a:p>
        </p:txBody>
      </p:sp>
      <p:sp>
        <p:nvSpPr>
          <p:cNvPr id="6" name="Tijdelijke aanduiding voor voettekst 1">
            <a:extLst>
              <a:ext uri="{FF2B5EF4-FFF2-40B4-BE49-F238E27FC236}">
                <a16:creationId xmlns:a16="http://schemas.microsoft.com/office/drawing/2014/main" xmlns="" id="{3DD293D9-D1ED-2E4B-A0AE-C20E20D11A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958" y="6304235"/>
            <a:ext cx="112355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8" name="Tijdelijke aanduiding voor datum 2">
            <a:extLst>
              <a:ext uri="{FF2B5EF4-FFF2-40B4-BE49-F238E27FC236}">
                <a16:creationId xmlns:a16="http://schemas.microsoft.com/office/drawing/2014/main" xmlns="" id="{EDBC314F-6CB4-D84D-9EA7-05EF31ACE1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0FE9D95-508F-0149-AB9F-2A4BBB64DAB7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9" name="Tijdelijke aanduiding voor tekst 2">
            <a:extLst>
              <a:ext uri="{FF2B5EF4-FFF2-40B4-BE49-F238E27FC236}">
                <a16:creationId xmlns:a16="http://schemas.microsoft.com/office/drawing/2014/main" xmlns="" id="{40D96653-7606-A149-9949-64FD7FCD75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7832" y="1983754"/>
            <a:ext cx="7123679" cy="4037535"/>
          </a:xfrm>
          <a:prstGeom prst="rect">
            <a:avLst/>
          </a:prstGeom>
        </p:spPr>
        <p:txBody>
          <a:bodyPr/>
          <a:lstStyle>
            <a:lvl2pPr>
              <a:defRPr/>
            </a:lvl2pPr>
            <a:lvl3pPr>
              <a:defRPr/>
            </a:lvl3pPr>
          </a:lstStyle>
          <a:p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Eerste niveau</a:t>
            </a:r>
          </a:p>
          <a:p>
            <a:pPr lvl="2"/>
            <a:r>
              <a:rPr lang="nl-NL" dirty="0"/>
              <a:t>Tweede niveau</a:t>
            </a:r>
          </a:p>
        </p:txBody>
      </p:sp>
      <p:grpSp>
        <p:nvGrpSpPr>
          <p:cNvPr id="112" name="Groep 111">
            <a:extLst>
              <a:ext uri="{FF2B5EF4-FFF2-40B4-BE49-F238E27FC236}">
                <a16:creationId xmlns:a16="http://schemas.microsoft.com/office/drawing/2014/main" xmlns="" id="{07EFD4C6-BFE2-2D4B-B1D1-E9BEF8B35443}"/>
              </a:ext>
            </a:extLst>
          </p:cNvPr>
          <p:cNvGrpSpPr/>
          <p:nvPr userDrawn="1"/>
        </p:nvGrpSpPr>
        <p:grpSpPr>
          <a:xfrm>
            <a:off x="12337391" y="14897"/>
            <a:ext cx="2814164" cy="6848547"/>
            <a:chOff x="12337391" y="14897"/>
            <a:chExt cx="2814164" cy="6848547"/>
          </a:xfrm>
        </p:grpSpPr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xmlns="" id="{DECA4414-12E7-8945-9A4F-ADFD3D39CEF0}"/>
                </a:ext>
              </a:extLst>
            </p:cNvPr>
            <p:cNvGrpSpPr/>
            <p:nvPr userDrawn="1"/>
          </p:nvGrpSpPr>
          <p:grpSpPr>
            <a:xfrm>
              <a:off x="12434693" y="14897"/>
              <a:ext cx="2716862" cy="5621628"/>
              <a:chOff x="12434693" y="14897"/>
              <a:chExt cx="2716862" cy="5621628"/>
            </a:xfrm>
          </p:grpSpPr>
          <p:sp>
            <p:nvSpPr>
              <p:cNvPr id="123" name="Rechthoek 122">
                <a:extLst>
                  <a:ext uri="{FF2B5EF4-FFF2-40B4-BE49-F238E27FC236}">
                    <a16:creationId xmlns:a16="http://schemas.microsoft.com/office/drawing/2014/main" xmlns="" id="{E12EC9E1-EF67-C04A-AA60-ED12EEFF858C}"/>
                  </a:ext>
                </a:extLst>
              </p:cNvPr>
              <p:cNvSpPr/>
              <p:nvPr/>
            </p:nvSpPr>
            <p:spPr>
              <a:xfrm>
                <a:off x="12441150" y="14897"/>
                <a:ext cx="2696270" cy="16177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80000"/>
                  </a:lnSpc>
                </a:pPr>
                <a:r>
                  <a:rPr lang="nl-NL" sz="1600" b="1" kern="0" cap="all" baseline="0" noProof="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FBEELDING INVOEGEN</a:t>
                </a:r>
              </a:p>
            </p:txBody>
          </p:sp>
          <p:sp>
            <p:nvSpPr>
              <p:cNvPr id="124" name="Tekstvak 33">
                <a:extLst>
                  <a:ext uri="{FF2B5EF4-FFF2-40B4-BE49-F238E27FC236}">
                    <a16:creationId xmlns:a16="http://schemas.microsoft.com/office/drawing/2014/main" xmlns="" id="{DCBA7DA2-978B-114B-B5EA-4ACA0C0C84F6}"/>
                  </a:ext>
                </a:extLst>
              </p:cNvPr>
              <p:cNvSpPr txBox="1"/>
              <p:nvPr/>
            </p:nvSpPr>
            <p:spPr>
              <a:xfrm>
                <a:off x="12441149" y="814239"/>
                <a:ext cx="2710405" cy="7198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ndien nodig, verwijder de bestaande afbeelding. Klik op het pictogram </a:t>
                </a:r>
                <a:b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om een afbeelding in te voegen</a:t>
                </a:r>
                <a:b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nl-NL" sz="1100" i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(zie onderstaand voorbeeld).</a:t>
                </a:r>
              </a:p>
            </p:txBody>
          </p:sp>
          <p:sp>
            <p:nvSpPr>
              <p:cNvPr id="125" name="Tekstvak 33">
                <a:extLst>
                  <a:ext uri="{FF2B5EF4-FFF2-40B4-BE49-F238E27FC236}">
                    <a16:creationId xmlns:a16="http://schemas.microsoft.com/office/drawing/2014/main" xmlns="" id="{D3C72B49-7081-1546-9459-FD079FA9A03E}"/>
                  </a:ext>
                </a:extLst>
              </p:cNvPr>
              <p:cNvSpPr txBox="1"/>
              <p:nvPr/>
            </p:nvSpPr>
            <p:spPr>
              <a:xfrm>
                <a:off x="12441149" y="2793904"/>
                <a:ext cx="2710405" cy="395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electeer de afbeelding die u wilt invoegen en klik op </a:t>
                </a:r>
                <a:r>
                  <a:rPr lang="nl-NL" sz="1200" b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Invoegen’</a:t>
                </a:r>
              </a:p>
            </p:txBody>
          </p:sp>
          <p:sp>
            <p:nvSpPr>
              <p:cNvPr id="126" name="Ovaal 125">
                <a:extLst>
                  <a:ext uri="{FF2B5EF4-FFF2-40B4-BE49-F238E27FC236}">
                    <a16:creationId xmlns:a16="http://schemas.microsoft.com/office/drawing/2014/main" xmlns="" id="{AE69A17B-7271-0943-8BD7-C9E220A6E1FB}"/>
                  </a:ext>
                </a:extLst>
              </p:cNvPr>
              <p:cNvSpPr/>
              <p:nvPr/>
            </p:nvSpPr>
            <p:spPr>
              <a:xfrm>
                <a:off x="12441150" y="379292"/>
                <a:ext cx="327206" cy="32720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sp>
            <p:nvSpPr>
              <p:cNvPr id="127" name="Ovaal 126">
                <a:extLst>
                  <a:ext uri="{FF2B5EF4-FFF2-40B4-BE49-F238E27FC236}">
                    <a16:creationId xmlns:a16="http://schemas.microsoft.com/office/drawing/2014/main" xmlns="" id="{AA8E58A4-28A3-7F47-9B61-2398FC66FF1D}"/>
                  </a:ext>
                </a:extLst>
              </p:cNvPr>
              <p:cNvSpPr/>
              <p:nvPr/>
            </p:nvSpPr>
            <p:spPr>
              <a:xfrm>
                <a:off x="12441150" y="2337208"/>
                <a:ext cx="327206" cy="32720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cxnSp>
            <p:nvCxnSpPr>
              <p:cNvPr id="128" name="Rechte verbindingslijn 127">
                <a:extLst>
                  <a:ext uri="{FF2B5EF4-FFF2-40B4-BE49-F238E27FC236}">
                    <a16:creationId xmlns:a16="http://schemas.microsoft.com/office/drawing/2014/main" xmlns="" id="{851D39D8-C59B-9E4D-8519-32786DA4A13C}"/>
                  </a:ext>
                </a:extLst>
              </p:cNvPr>
              <p:cNvCxnSpPr/>
              <p:nvPr/>
            </p:nvCxnSpPr>
            <p:spPr>
              <a:xfrm>
                <a:off x="12441150" y="248176"/>
                <a:ext cx="271040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cxnSp>
            <p:nvCxnSpPr>
              <p:cNvPr id="129" name="Rechte verbindingslijn 128">
                <a:extLst>
                  <a:ext uri="{FF2B5EF4-FFF2-40B4-BE49-F238E27FC236}">
                    <a16:creationId xmlns:a16="http://schemas.microsoft.com/office/drawing/2014/main" xmlns="" id="{3DED2AD7-C68C-D548-8A25-81B4EF043A6B}"/>
                  </a:ext>
                </a:extLst>
              </p:cNvPr>
              <p:cNvCxnSpPr/>
              <p:nvPr/>
            </p:nvCxnSpPr>
            <p:spPr>
              <a:xfrm>
                <a:off x="12441149" y="2212830"/>
                <a:ext cx="271040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cxnSp>
            <p:nvCxnSpPr>
              <p:cNvPr id="130" name="Rechte verbindingslijn 129">
                <a:extLst>
                  <a:ext uri="{FF2B5EF4-FFF2-40B4-BE49-F238E27FC236}">
                    <a16:creationId xmlns:a16="http://schemas.microsoft.com/office/drawing/2014/main" xmlns="" id="{F9EEF6DD-8616-FD46-9B4C-D991A6383987}"/>
                  </a:ext>
                </a:extLst>
              </p:cNvPr>
              <p:cNvCxnSpPr/>
              <p:nvPr/>
            </p:nvCxnSpPr>
            <p:spPr>
              <a:xfrm>
                <a:off x="12444679" y="3732412"/>
                <a:ext cx="270687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pic>
            <p:nvPicPr>
              <p:cNvPr id="131" name="Icoontje afbeelding">
                <a:extLst>
                  <a:ext uri="{FF2B5EF4-FFF2-40B4-BE49-F238E27FC236}">
                    <a16:creationId xmlns:a16="http://schemas.microsoft.com/office/drawing/2014/main" xmlns="" id="{CF0DAB74-B907-E84D-8851-DB0CF05023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2434693" y="1677764"/>
                <a:ext cx="403210" cy="403210"/>
              </a:xfrm>
              <a:prstGeom prst="rect">
                <a:avLst/>
              </a:prstGeom>
            </p:spPr>
          </p:pic>
          <p:grpSp>
            <p:nvGrpSpPr>
              <p:cNvPr id="132" name="Groep 131">
                <a:extLst>
                  <a:ext uri="{FF2B5EF4-FFF2-40B4-BE49-F238E27FC236}">
                    <a16:creationId xmlns:a16="http://schemas.microsoft.com/office/drawing/2014/main" xmlns="" id="{9B25A2B7-4A35-B04C-AE7D-4BCA2423A248}"/>
                  </a:ext>
                </a:extLst>
              </p:cNvPr>
              <p:cNvGrpSpPr/>
              <p:nvPr/>
            </p:nvGrpSpPr>
            <p:grpSpPr>
              <a:xfrm>
                <a:off x="12450571" y="3301369"/>
                <a:ext cx="1002992" cy="267962"/>
                <a:chOff x="13560784" y="3471416"/>
                <a:chExt cx="1114138" cy="297656"/>
              </a:xfrm>
            </p:grpSpPr>
            <p:sp>
              <p:nvSpPr>
                <p:cNvPr id="135" name="Afgeronde rechthoek 134">
                  <a:extLst>
                    <a:ext uri="{FF2B5EF4-FFF2-40B4-BE49-F238E27FC236}">
                      <a16:creationId xmlns:a16="http://schemas.microsoft.com/office/drawing/2014/main" xmlns="" id="{4A973991-0E9E-BA42-9A41-FCE156733BB0}"/>
                    </a:ext>
                  </a:extLst>
                </p:cNvPr>
                <p:cNvSpPr/>
                <p:nvPr/>
              </p:nvSpPr>
              <p:spPr>
                <a:xfrm>
                  <a:off x="13560784" y="3471416"/>
                  <a:ext cx="1114138" cy="297656"/>
                </a:xfrm>
                <a:prstGeom prst="roundRect">
                  <a:avLst/>
                </a:prstGeom>
                <a:gradFill flip="none" rotWithShape="1">
                  <a:gsLst>
                    <a:gs pos="4000">
                      <a:srgbClr val="00B0F0"/>
                    </a:gs>
                    <a:gs pos="0">
                      <a:srgbClr val="0070C0"/>
                    </a:gs>
                    <a:gs pos="100000">
                      <a:srgbClr val="0070C0"/>
                    </a:gs>
                    <a:gs pos="12000">
                      <a:srgbClr val="D1EAFF"/>
                    </a:gs>
                    <a:gs pos="96000">
                      <a:srgbClr val="00B0F0"/>
                    </a:gs>
                    <a:gs pos="89000">
                      <a:srgbClr val="DDF4FF"/>
                    </a:gs>
                    <a:gs pos="43000">
                      <a:srgbClr val="D1EAFF"/>
                    </a:gs>
                    <a:gs pos="51000">
                      <a:srgbClr val="DDF4FF"/>
                    </a:gs>
                  </a:gsLst>
                  <a:lin ang="16200000" scaled="1"/>
                  <a:tileRect/>
                </a:gradFill>
                <a:ln w="63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 dirty="0">
                    <a:latin typeface="+mn-lt"/>
                  </a:endParaRPr>
                </a:p>
              </p:txBody>
            </p:sp>
            <p:sp>
              <p:nvSpPr>
                <p:cNvPr id="136" name="Tekstvak 135">
                  <a:extLst>
                    <a:ext uri="{FF2B5EF4-FFF2-40B4-BE49-F238E27FC236}">
                      <a16:creationId xmlns:a16="http://schemas.microsoft.com/office/drawing/2014/main" xmlns="" id="{5CF1EF28-F487-B544-94AA-2639EB664860}"/>
                    </a:ext>
                  </a:extLst>
                </p:cNvPr>
                <p:cNvSpPr txBox="1"/>
                <p:nvPr/>
              </p:nvSpPr>
              <p:spPr>
                <a:xfrm>
                  <a:off x="13573594" y="3488254"/>
                  <a:ext cx="888311" cy="273506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>
                  <a:defPPr>
                    <a:defRPr lang="nl-NL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900" i="0" u="none" strike="noStrike" kern="0" cap="none" spc="0" normalizeH="0" baseline="0">
                      <a:ln>
                        <a:noFill/>
                      </a:ln>
                      <a:effectLst>
                        <a:outerShdw blurRad="25400" algn="ctr" rotWithShape="0">
                          <a:prstClr val="white"/>
                        </a:outerShdw>
                      </a:effectLst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5pPr>
                  <a:lvl6pPr>
                    <a:defRPr>
                      <a:latin typeface="Arial" charset="0"/>
                      <a:cs typeface="Arial" charset="0"/>
                    </a:defRPr>
                  </a:lvl6pPr>
                  <a:lvl7pPr>
                    <a:defRPr>
                      <a:latin typeface="Arial" charset="0"/>
                      <a:cs typeface="Arial" charset="0"/>
                    </a:defRPr>
                  </a:lvl7pPr>
                  <a:lvl8pPr>
                    <a:defRPr>
                      <a:latin typeface="Arial" charset="0"/>
                      <a:cs typeface="Arial" charset="0"/>
                    </a:defRPr>
                  </a:lvl8pPr>
                  <a:lvl9pPr>
                    <a:defRPr>
                      <a:latin typeface="Arial" charset="0"/>
                      <a:cs typeface="Arial" charset="0"/>
                    </a:defRPr>
                  </a:lvl9pPr>
                </a:lstStyle>
                <a:p>
                  <a:r>
                    <a:rPr lang="nl-NL" sz="1000" noProof="0" dirty="0">
                      <a:solidFill>
                        <a:schemeClr val="accent5"/>
                      </a:solidFill>
                      <a:latin typeface="+mn-lt"/>
                    </a:rPr>
                    <a:t>Invoegen</a:t>
                  </a:r>
                </a:p>
              </p:txBody>
            </p:sp>
            <p:cxnSp>
              <p:nvCxnSpPr>
                <p:cNvPr id="137" name="Rechte verbindingslijn 136">
                  <a:extLst>
                    <a:ext uri="{FF2B5EF4-FFF2-40B4-BE49-F238E27FC236}">
                      <a16:creationId xmlns:a16="http://schemas.microsoft.com/office/drawing/2014/main" xmlns="" id="{38183A98-65A6-434A-A8B7-5E6AE570F89D}"/>
                    </a:ext>
                  </a:extLst>
                </p:cNvPr>
                <p:cNvCxnSpPr/>
                <p:nvPr/>
              </p:nvCxnSpPr>
              <p:spPr>
                <a:xfrm>
                  <a:off x="14461905" y="3507058"/>
                  <a:ext cx="0" cy="224432"/>
                </a:xfrm>
                <a:prstGeom prst="line">
                  <a:avLst/>
                </a:prstGeom>
                <a:ln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8" name="Gelijkbenige driehoek 112">
                  <a:extLst>
                    <a:ext uri="{FF2B5EF4-FFF2-40B4-BE49-F238E27FC236}">
                      <a16:creationId xmlns:a16="http://schemas.microsoft.com/office/drawing/2014/main" xmlns="" id="{BDEC9559-9931-2842-9E7F-822064E7544D}"/>
                    </a:ext>
                  </a:extLst>
                </p:cNvPr>
                <p:cNvSpPr/>
                <p:nvPr/>
              </p:nvSpPr>
              <p:spPr>
                <a:xfrm rot="10800000">
                  <a:off x="14518584" y="3600521"/>
                  <a:ext cx="105309" cy="57157"/>
                </a:xfrm>
                <a:prstGeom prst="triangl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noProof="0" dirty="0">
                    <a:latin typeface="+mn-lt"/>
                  </a:endParaRPr>
                </a:p>
              </p:txBody>
            </p:sp>
          </p:grpSp>
          <p:sp>
            <p:nvSpPr>
              <p:cNvPr id="133" name="Tekstvak 33">
                <a:extLst>
                  <a:ext uri="{FF2B5EF4-FFF2-40B4-BE49-F238E27FC236}">
                    <a16:creationId xmlns:a16="http://schemas.microsoft.com/office/drawing/2014/main" xmlns="" id="{3EEC3101-D5A0-7641-84E3-7D1B47AD7E2E}"/>
                  </a:ext>
                </a:extLst>
              </p:cNvPr>
              <p:cNvSpPr txBox="1"/>
              <p:nvPr userDrawn="1"/>
            </p:nvSpPr>
            <p:spPr>
              <a:xfrm>
                <a:off x="12441149" y="4324894"/>
                <a:ext cx="2710405" cy="131163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Als u de afbeelding wilt schalen of verslepen, ga naar </a:t>
                </a:r>
                <a:r>
                  <a:rPr lang="nl-NL" sz="1200" b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Hulpmiddelen voor afbeeldingen’ </a:t>
                </a: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n klik op </a:t>
                </a:r>
                <a:r>
                  <a:rPr lang="nl-NL" sz="1200" b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Bijsnijden’.</a:t>
                </a:r>
              </a:p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Met de witte bolletjes schaalt u de afbeelding, met de zwarte haakjes </a:t>
                </a:r>
              </a:p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chaalt u het afbeeldingskader.</a:t>
                </a:r>
              </a:p>
            </p:txBody>
          </p:sp>
          <p:sp>
            <p:nvSpPr>
              <p:cNvPr id="134" name="Ovaal 133">
                <a:extLst>
                  <a:ext uri="{FF2B5EF4-FFF2-40B4-BE49-F238E27FC236}">
                    <a16:creationId xmlns:a16="http://schemas.microsoft.com/office/drawing/2014/main" xmlns="" id="{6D204E82-5C61-704C-AD74-51B8B9D20702}"/>
                  </a:ext>
                </a:extLst>
              </p:cNvPr>
              <p:cNvSpPr/>
              <p:nvPr userDrawn="1"/>
            </p:nvSpPr>
            <p:spPr>
              <a:xfrm>
                <a:off x="12441150" y="3868198"/>
                <a:ext cx="327206" cy="32720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</p:grpSp>
        <p:grpSp>
          <p:nvGrpSpPr>
            <p:cNvPr id="114" name="bijsnijden">
              <a:extLst>
                <a:ext uri="{FF2B5EF4-FFF2-40B4-BE49-F238E27FC236}">
                  <a16:creationId xmlns:a16="http://schemas.microsoft.com/office/drawing/2014/main" xmlns="" id="{E66444F7-3070-1D45-B709-C12C67D2250C}"/>
                </a:ext>
              </a:extLst>
            </p:cNvPr>
            <p:cNvGrpSpPr/>
            <p:nvPr userDrawn="1"/>
          </p:nvGrpSpPr>
          <p:grpSpPr>
            <a:xfrm>
              <a:off x="12337391" y="5828002"/>
              <a:ext cx="857410" cy="828260"/>
              <a:chOff x="13104065" y="5655940"/>
              <a:chExt cx="857410" cy="828260"/>
            </a:xfrm>
          </p:grpSpPr>
          <p:grpSp>
            <p:nvGrpSpPr>
              <p:cNvPr id="116" name="Groep 115">
                <a:extLst>
                  <a:ext uri="{FF2B5EF4-FFF2-40B4-BE49-F238E27FC236}">
                    <a16:creationId xmlns:a16="http://schemas.microsoft.com/office/drawing/2014/main" xmlns="" id="{71D4C5E2-0C33-FB45-85AA-9327ED9C6DAB}"/>
                  </a:ext>
                </a:extLst>
              </p:cNvPr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19" name="Rechthoek 118">
                  <a:extLst>
                    <a:ext uri="{FF2B5EF4-FFF2-40B4-BE49-F238E27FC236}">
                      <a16:creationId xmlns:a16="http://schemas.microsoft.com/office/drawing/2014/main" xmlns="" id="{D54BF193-DCA5-1A42-A3CA-64341F54691A}"/>
                    </a:ext>
                  </a:extLst>
                </p:cNvPr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accent5"/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120" name="Afbeelding 119">
                  <a:extLst>
                    <a:ext uri="{FF2B5EF4-FFF2-40B4-BE49-F238E27FC236}">
                      <a16:creationId xmlns:a16="http://schemas.microsoft.com/office/drawing/2014/main" xmlns="" id="{D3FF751B-3237-2F44-B011-341FC502D120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accent5"/>
                  </a:solidFill>
                </a:ln>
              </p:spPr>
            </p:pic>
            <p:sp>
              <p:nvSpPr>
                <p:cNvPr id="121" name="L-vorm 120">
                  <a:extLst>
                    <a:ext uri="{FF2B5EF4-FFF2-40B4-BE49-F238E27FC236}">
                      <a16:creationId xmlns:a16="http://schemas.microsoft.com/office/drawing/2014/main" xmlns="" id="{60CADFF3-EAC1-5D45-A0AB-7080CC47D463}"/>
                    </a:ext>
                  </a:extLst>
                </p:cNvPr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22" name="L-vorm 121">
                  <a:extLst>
                    <a:ext uri="{FF2B5EF4-FFF2-40B4-BE49-F238E27FC236}">
                      <a16:creationId xmlns:a16="http://schemas.microsoft.com/office/drawing/2014/main" xmlns="" id="{BC9CDC95-41D5-4247-883D-11EFC96187F8}"/>
                    </a:ext>
                  </a:extLst>
                </p:cNvPr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117" name="Tekstvak 76">
                <a:extLst>
                  <a:ext uri="{FF2B5EF4-FFF2-40B4-BE49-F238E27FC236}">
                    <a16:creationId xmlns:a16="http://schemas.microsoft.com/office/drawing/2014/main" xmlns="" id="{E79F64C7-E0FC-C94F-B1CF-E65A33437A7E}"/>
                  </a:ext>
                </a:extLst>
              </p:cNvPr>
              <p:cNvSpPr txBox="1"/>
              <p:nvPr userDrawn="1"/>
            </p:nvSpPr>
            <p:spPr>
              <a:xfrm>
                <a:off x="13104065" y="6172998"/>
                <a:ext cx="857410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1" i="0" u="none" strike="noStrike" kern="0" cap="none" spc="0" normalizeH="0" baseline="0" dirty="0">
                    <a:ln>
                      <a:noFill/>
                    </a:ln>
                    <a:solidFill>
                      <a:schemeClr val="accent5"/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Bijsnijden</a:t>
                </a:r>
              </a:p>
            </p:txBody>
          </p:sp>
          <p:sp>
            <p:nvSpPr>
              <p:cNvPr id="118" name="Rechthoekige driehoek 117">
                <a:extLst>
                  <a:ext uri="{FF2B5EF4-FFF2-40B4-BE49-F238E27FC236}">
                    <a16:creationId xmlns:a16="http://schemas.microsoft.com/office/drawing/2014/main" xmlns="" id="{E0E7F0D8-86B8-3149-BA46-51B873B09AD6}"/>
                  </a:ext>
                </a:extLst>
              </p:cNvPr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4"/>
                  </a:solidFill>
                  <a:cs typeface="Segoe UI Light" panose="020B0502040204020203" pitchFamily="34" charset="0"/>
                </a:endParaRPr>
              </a:p>
            </p:txBody>
          </p:sp>
        </p:grpSp>
        <p:cxnSp>
          <p:nvCxnSpPr>
            <p:cNvPr id="115" name="Rechte verbindingslijn 114">
              <a:extLst>
                <a:ext uri="{FF2B5EF4-FFF2-40B4-BE49-F238E27FC236}">
                  <a16:creationId xmlns:a16="http://schemas.microsoft.com/office/drawing/2014/main" xmlns="" id="{BB8AA623-A53D-974B-8544-7D66C58AF08E}"/>
                </a:ext>
              </a:extLst>
            </p:cNvPr>
            <p:cNvCxnSpPr/>
            <p:nvPr userDrawn="1"/>
          </p:nvCxnSpPr>
          <p:spPr>
            <a:xfrm>
              <a:off x="12446162" y="6863444"/>
              <a:ext cx="2704546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9473040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jdelijke aanduiding voor media 20"/>
          <p:cNvSpPr>
            <a:spLocks noGrp="1"/>
          </p:cNvSpPr>
          <p:nvPr>
            <p:ph type="media" sz="quarter" idx="13" hasCustomPrompt="1"/>
          </p:nvPr>
        </p:nvSpPr>
        <p:spPr>
          <a:xfrm>
            <a:off x="465958" y="1916832"/>
            <a:ext cx="11235553" cy="3984065"/>
          </a:xfrm>
          <a:prstGeom prst="rect">
            <a:avLst/>
          </a:prstGeom>
          <a:ln w="12700">
            <a:solidFill>
              <a:schemeClr val="accent6"/>
            </a:solidFill>
          </a:ln>
        </p:spPr>
        <p:txBody>
          <a:bodyPr anchor="ctr"/>
          <a:lstStyle>
            <a:lvl1pPr marL="0" indent="0" algn="ctr">
              <a:lnSpc>
                <a:spcPct val="150000"/>
              </a:lnSpc>
              <a:buNone/>
              <a:defRPr sz="20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 dirty="0"/>
              <a:t>Klik op het icoon om </a:t>
            </a:r>
            <a:br>
              <a:rPr lang="nl-NL" dirty="0"/>
            </a:br>
            <a:r>
              <a:rPr lang="nl-NL" dirty="0"/>
              <a:t>een video toe te voegen</a:t>
            </a:r>
          </a:p>
        </p:txBody>
      </p:sp>
      <p:sp>
        <p:nvSpPr>
          <p:cNvPr id="22" name="Tekstvak 21"/>
          <p:cNvSpPr txBox="1"/>
          <p:nvPr userDrawn="1"/>
        </p:nvSpPr>
        <p:spPr>
          <a:xfrm>
            <a:off x="-85057" y="-437946"/>
            <a:ext cx="41537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0" i="0" dirty="0">
                <a:solidFill>
                  <a:schemeClr val="accent5"/>
                </a:solidFill>
                <a:latin typeface="Arial"/>
                <a:cs typeface="Arial"/>
              </a:rPr>
              <a:t>100% VIDEO</a:t>
            </a:r>
          </a:p>
        </p:txBody>
      </p:sp>
      <p:sp>
        <p:nvSpPr>
          <p:cNvPr id="18" name="Rectangle 2">
            <a:extLst>
              <a:ext uri="{FF2B5EF4-FFF2-40B4-BE49-F238E27FC236}">
                <a16:creationId xmlns:a16="http://schemas.microsoft.com/office/drawing/2014/main" xmlns="" id="{529478F4-B0EB-EE48-892F-B3AFBF8F13B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65958" y="908721"/>
            <a:ext cx="11235553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/>
            <a:r>
              <a:rPr lang="nl-NL" dirty="0"/>
              <a:t>Video</a:t>
            </a:r>
          </a:p>
        </p:txBody>
      </p:sp>
      <p:sp>
        <p:nvSpPr>
          <p:cNvPr id="5" name="Tijdelijke aanduiding voor voettekst 1">
            <a:extLst>
              <a:ext uri="{FF2B5EF4-FFF2-40B4-BE49-F238E27FC236}">
                <a16:creationId xmlns:a16="http://schemas.microsoft.com/office/drawing/2014/main" xmlns="" id="{DB352776-4E89-154D-8E66-80A855EB5E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958" y="6304235"/>
            <a:ext cx="112355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6" name="Tijdelijke aanduiding voor datum 2">
            <a:extLst>
              <a:ext uri="{FF2B5EF4-FFF2-40B4-BE49-F238E27FC236}">
                <a16:creationId xmlns:a16="http://schemas.microsoft.com/office/drawing/2014/main" xmlns="" id="{D21FBF91-21E4-7D45-AD26-E2EBC3D12A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18CA94-48B1-6B4B-8AA8-B58E9ED37B20}" type="datetime1">
              <a:rPr lang="nl-NL" smtClean="0"/>
              <a:t>29-4-2019</a:t>
            </a:fld>
            <a:endParaRPr lang="nl-NL" dirty="0"/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xmlns="" id="{7A6843F8-6F85-3947-B6F2-18CC0B0D7E7E}"/>
              </a:ext>
            </a:extLst>
          </p:cNvPr>
          <p:cNvGrpSpPr/>
          <p:nvPr userDrawn="1"/>
        </p:nvGrpSpPr>
        <p:grpSpPr>
          <a:xfrm>
            <a:off x="12337391" y="14897"/>
            <a:ext cx="2814164" cy="6848547"/>
            <a:chOff x="12337391" y="14897"/>
            <a:chExt cx="2814164" cy="6848547"/>
          </a:xfrm>
        </p:grpSpPr>
        <p:grpSp>
          <p:nvGrpSpPr>
            <p:cNvPr id="8" name="Groep 7">
              <a:extLst>
                <a:ext uri="{FF2B5EF4-FFF2-40B4-BE49-F238E27FC236}">
                  <a16:creationId xmlns:a16="http://schemas.microsoft.com/office/drawing/2014/main" xmlns="" id="{CB9A2BD6-FE11-F64F-A0C7-FDD41DDA0B7A}"/>
                </a:ext>
              </a:extLst>
            </p:cNvPr>
            <p:cNvGrpSpPr/>
            <p:nvPr userDrawn="1"/>
          </p:nvGrpSpPr>
          <p:grpSpPr>
            <a:xfrm>
              <a:off x="12437429" y="14897"/>
              <a:ext cx="2714126" cy="3717515"/>
              <a:chOff x="12437429" y="14897"/>
              <a:chExt cx="2714126" cy="3717515"/>
            </a:xfrm>
          </p:grpSpPr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xmlns="" id="{75462303-D6F2-4045-A084-3765D6D83635}"/>
                  </a:ext>
                </a:extLst>
              </p:cNvPr>
              <p:cNvSpPr/>
              <p:nvPr/>
            </p:nvSpPr>
            <p:spPr>
              <a:xfrm>
                <a:off x="12441150" y="14897"/>
                <a:ext cx="2696270" cy="16177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80000"/>
                  </a:lnSpc>
                </a:pPr>
                <a:r>
                  <a:rPr lang="nl-NL" sz="1600" b="1" kern="0" cap="all" baseline="0" noProof="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VIDEO INVOEGEN</a:t>
                </a:r>
              </a:p>
            </p:txBody>
          </p:sp>
          <p:sp>
            <p:nvSpPr>
              <p:cNvPr id="24" name="Tekstvak 33">
                <a:extLst>
                  <a:ext uri="{FF2B5EF4-FFF2-40B4-BE49-F238E27FC236}">
                    <a16:creationId xmlns:a16="http://schemas.microsoft.com/office/drawing/2014/main" xmlns="" id="{939CF941-B230-C941-8B07-F89D49A0E41B}"/>
                  </a:ext>
                </a:extLst>
              </p:cNvPr>
              <p:cNvSpPr txBox="1"/>
              <p:nvPr/>
            </p:nvSpPr>
            <p:spPr>
              <a:xfrm>
                <a:off x="12441149" y="814239"/>
                <a:ext cx="2710405" cy="7198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ndien nodig, verwijder de bestaande video. Klik op het pictogram om een video in te voegen</a:t>
                </a:r>
                <a:b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nl-NL" sz="1100" i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(zie onderstaand voorbeeld).</a:t>
                </a:r>
              </a:p>
            </p:txBody>
          </p:sp>
          <p:sp>
            <p:nvSpPr>
              <p:cNvPr id="25" name="Tekstvak 33">
                <a:extLst>
                  <a:ext uri="{FF2B5EF4-FFF2-40B4-BE49-F238E27FC236}">
                    <a16:creationId xmlns:a16="http://schemas.microsoft.com/office/drawing/2014/main" xmlns="" id="{9F4742AC-54B3-F34F-8BD8-53612DC062F7}"/>
                  </a:ext>
                </a:extLst>
              </p:cNvPr>
              <p:cNvSpPr txBox="1"/>
              <p:nvPr/>
            </p:nvSpPr>
            <p:spPr>
              <a:xfrm>
                <a:off x="12441149" y="2793904"/>
                <a:ext cx="2710405" cy="395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electeer de video die u wilt invoegen en klik op </a:t>
                </a:r>
                <a:r>
                  <a:rPr lang="nl-NL" sz="1200" b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Invoegen’</a:t>
                </a:r>
              </a:p>
            </p:txBody>
          </p:sp>
          <p:sp>
            <p:nvSpPr>
              <p:cNvPr id="26" name="Ovaal 25">
                <a:extLst>
                  <a:ext uri="{FF2B5EF4-FFF2-40B4-BE49-F238E27FC236}">
                    <a16:creationId xmlns:a16="http://schemas.microsoft.com/office/drawing/2014/main" xmlns="" id="{773B0647-9524-2942-B51A-2E57A88C2A24}"/>
                  </a:ext>
                </a:extLst>
              </p:cNvPr>
              <p:cNvSpPr/>
              <p:nvPr/>
            </p:nvSpPr>
            <p:spPr>
              <a:xfrm>
                <a:off x="12441150" y="379292"/>
                <a:ext cx="327206" cy="327206"/>
              </a:xfrm>
              <a:prstGeom prst="ellipse">
                <a:avLst/>
              </a:prstGeom>
              <a:solidFill>
                <a:schemeClr val="tx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sp>
            <p:nvSpPr>
              <p:cNvPr id="27" name="Ovaal 26">
                <a:extLst>
                  <a:ext uri="{FF2B5EF4-FFF2-40B4-BE49-F238E27FC236}">
                    <a16:creationId xmlns:a16="http://schemas.microsoft.com/office/drawing/2014/main" xmlns="" id="{5CBFA662-C1EF-074D-91CD-4C3F0015B919}"/>
                  </a:ext>
                </a:extLst>
              </p:cNvPr>
              <p:cNvSpPr/>
              <p:nvPr/>
            </p:nvSpPr>
            <p:spPr>
              <a:xfrm>
                <a:off x="12441150" y="2337208"/>
                <a:ext cx="327206" cy="327206"/>
              </a:xfrm>
              <a:prstGeom prst="ellipse">
                <a:avLst/>
              </a:prstGeom>
              <a:solidFill>
                <a:schemeClr val="tx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cxnSp>
            <p:nvCxnSpPr>
              <p:cNvPr id="28" name="Rechte verbindingslijn 27">
                <a:extLst>
                  <a:ext uri="{FF2B5EF4-FFF2-40B4-BE49-F238E27FC236}">
                    <a16:creationId xmlns:a16="http://schemas.microsoft.com/office/drawing/2014/main" xmlns="" id="{0D39A6AF-A91F-5B4B-9B36-14F50A546115}"/>
                  </a:ext>
                </a:extLst>
              </p:cNvPr>
              <p:cNvCxnSpPr/>
              <p:nvPr/>
            </p:nvCxnSpPr>
            <p:spPr>
              <a:xfrm>
                <a:off x="12441150" y="248176"/>
                <a:ext cx="271040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cxnSp>
            <p:nvCxnSpPr>
              <p:cNvPr id="29" name="Rechte verbindingslijn 28">
                <a:extLst>
                  <a:ext uri="{FF2B5EF4-FFF2-40B4-BE49-F238E27FC236}">
                    <a16:creationId xmlns:a16="http://schemas.microsoft.com/office/drawing/2014/main" xmlns="" id="{E494BF33-9C97-7948-9C03-31412A013679}"/>
                  </a:ext>
                </a:extLst>
              </p:cNvPr>
              <p:cNvCxnSpPr/>
              <p:nvPr/>
            </p:nvCxnSpPr>
            <p:spPr>
              <a:xfrm>
                <a:off x="12441149" y="2212830"/>
                <a:ext cx="271040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cxnSp>
            <p:nvCxnSpPr>
              <p:cNvPr id="30" name="Rechte verbindingslijn 29">
                <a:extLst>
                  <a:ext uri="{FF2B5EF4-FFF2-40B4-BE49-F238E27FC236}">
                    <a16:creationId xmlns:a16="http://schemas.microsoft.com/office/drawing/2014/main" xmlns="" id="{1E9356D1-C653-FC4F-BFAA-3BA2883551AC}"/>
                  </a:ext>
                </a:extLst>
              </p:cNvPr>
              <p:cNvCxnSpPr/>
              <p:nvPr/>
            </p:nvCxnSpPr>
            <p:spPr>
              <a:xfrm>
                <a:off x="12444679" y="3732412"/>
                <a:ext cx="270687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grpSp>
            <p:nvGrpSpPr>
              <p:cNvPr id="31" name="Groep 30">
                <a:extLst>
                  <a:ext uri="{FF2B5EF4-FFF2-40B4-BE49-F238E27FC236}">
                    <a16:creationId xmlns:a16="http://schemas.microsoft.com/office/drawing/2014/main" xmlns="" id="{6D2E3D04-0E0C-4949-92CF-E355FD4BC9E5}"/>
                  </a:ext>
                </a:extLst>
              </p:cNvPr>
              <p:cNvGrpSpPr/>
              <p:nvPr/>
            </p:nvGrpSpPr>
            <p:grpSpPr>
              <a:xfrm>
                <a:off x="12450571" y="3301369"/>
                <a:ext cx="1002992" cy="267962"/>
                <a:chOff x="13560784" y="3471416"/>
                <a:chExt cx="1114138" cy="297656"/>
              </a:xfrm>
            </p:grpSpPr>
            <p:sp>
              <p:nvSpPr>
                <p:cNvPr id="36" name="Afgeronde rechthoek 35">
                  <a:extLst>
                    <a:ext uri="{FF2B5EF4-FFF2-40B4-BE49-F238E27FC236}">
                      <a16:creationId xmlns:a16="http://schemas.microsoft.com/office/drawing/2014/main" xmlns="" id="{63FF65F9-5E6A-A74C-8FEB-5916AB9FA0F0}"/>
                    </a:ext>
                  </a:extLst>
                </p:cNvPr>
                <p:cNvSpPr/>
                <p:nvPr/>
              </p:nvSpPr>
              <p:spPr>
                <a:xfrm>
                  <a:off x="13560784" y="3471416"/>
                  <a:ext cx="1114138" cy="297656"/>
                </a:xfrm>
                <a:prstGeom prst="roundRect">
                  <a:avLst/>
                </a:prstGeom>
                <a:gradFill flip="none" rotWithShape="1">
                  <a:gsLst>
                    <a:gs pos="4000">
                      <a:srgbClr val="00B0F0"/>
                    </a:gs>
                    <a:gs pos="0">
                      <a:srgbClr val="0070C0"/>
                    </a:gs>
                    <a:gs pos="100000">
                      <a:srgbClr val="0070C0"/>
                    </a:gs>
                    <a:gs pos="12000">
                      <a:srgbClr val="D1EAFF"/>
                    </a:gs>
                    <a:gs pos="96000">
                      <a:srgbClr val="00B0F0"/>
                    </a:gs>
                    <a:gs pos="89000">
                      <a:srgbClr val="DDF4FF"/>
                    </a:gs>
                    <a:gs pos="43000">
                      <a:srgbClr val="D1EAFF"/>
                    </a:gs>
                    <a:gs pos="51000">
                      <a:srgbClr val="DDF4FF"/>
                    </a:gs>
                  </a:gsLst>
                  <a:lin ang="16200000" scaled="1"/>
                  <a:tileRect/>
                </a:gradFill>
                <a:ln w="63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 dirty="0">
                    <a:latin typeface="+mn-lt"/>
                  </a:endParaRPr>
                </a:p>
              </p:txBody>
            </p:sp>
            <p:sp>
              <p:nvSpPr>
                <p:cNvPr id="37" name="Tekstvak 36">
                  <a:extLst>
                    <a:ext uri="{FF2B5EF4-FFF2-40B4-BE49-F238E27FC236}">
                      <a16:creationId xmlns:a16="http://schemas.microsoft.com/office/drawing/2014/main" xmlns="" id="{8D30A4B0-1129-7F43-8AE4-27BA8D3FAB29}"/>
                    </a:ext>
                  </a:extLst>
                </p:cNvPr>
                <p:cNvSpPr txBox="1"/>
                <p:nvPr/>
              </p:nvSpPr>
              <p:spPr>
                <a:xfrm>
                  <a:off x="13573594" y="3488254"/>
                  <a:ext cx="888311" cy="273506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>
                  <a:defPPr>
                    <a:defRPr lang="nl-NL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900" i="0" u="none" strike="noStrike" kern="0" cap="none" spc="0" normalizeH="0" baseline="0">
                      <a:ln>
                        <a:noFill/>
                      </a:ln>
                      <a:effectLst>
                        <a:outerShdw blurRad="25400" algn="ctr" rotWithShape="0">
                          <a:prstClr val="white"/>
                        </a:outerShdw>
                      </a:effectLst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5pPr>
                  <a:lvl6pPr>
                    <a:defRPr>
                      <a:latin typeface="Arial" charset="0"/>
                      <a:cs typeface="Arial" charset="0"/>
                    </a:defRPr>
                  </a:lvl6pPr>
                  <a:lvl7pPr>
                    <a:defRPr>
                      <a:latin typeface="Arial" charset="0"/>
                      <a:cs typeface="Arial" charset="0"/>
                    </a:defRPr>
                  </a:lvl7pPr>
                  <a:lvl8pPr>
                    <a:defRPr>
                      <a:latin typeface="Arial" charset="0"/>
                      <a:cs typeface="Arial" charset="0"/>
                    </a:defRPr>
                  </a:lvl8pPr>
                  <a:lvl9pPr>
                    <a:defRPr>
                      <a:latin typeface="Arial" charset="0"/>
                      <a:cs typeface="Arial" charset="0"/>
                    </a:defRPr>
                  </a:lvl9pPr>
                </a:lstStyle>
                <a:p>
                  <a:r>
                    <a:rPr lang="nl-NL" sz="1000" noProof="0" dirty="0">
                      <a:solidFill>
                        <a:schemeClr val="accent5"/>
                      </a:solidFill>
                      <a:latin typeface="+mn-lt"/>
                    </a:rPr>
                    <a:t>Invoegen</a:t>
                  </a:r>
                </a:p>
              </p:txBody>
            </p:sp>
            <p:cxnSp>
              <p:nvCxnSpPr>
                <p:cNvPr id="38" name="Rechte verbindingslijn 37">
                  <a:extLst>
                    <a:ext uri="{FF2B5EF4-FFF2-40B4-BE49-F238E27FC236}">
                      <a16:creationId xmlns:a16="http://schemas.microsoft.com/office/drawing/2014/main" xmlns="" id="{209088D4-E823-AA4E-A4E2-8C3C37C5AD59}"/>
                    </a:ext>
                  </a:extLst>
                </p:cNvPr>
                <p:cNvCxnSpPr/>
                <p:nvPr/>
              </p:nvCxnSpPr>
              <p:spPr>
                <a:xfrm>
                  <a:off x="14461905" y="3507058"/>
                  <a:ext cx="0" cy="224432"/>
                </a:xfrm>
                <a:prstGeom prst="line">
                  <a:avLst/>
                </a:prstGeom>
                <a:ln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Gelijkbenige driehoek 70">
                  <a:extLst>
                    <a:ext uri="{FF2B5EF4-FFF2-40B4-BE49-F238E27FC236}">
                      <a16:creationId xmlns:a16="http://schemas.microsoft.com/office/drawing/2014/main" xmlns="" id="{9CA7E0E0-130F-094C-B357-133AB17E00DF}"/>
                    </a:ext>
                  </a:extLst>
                </p:cNvPr>
                <p:cNvSpPr/>
                <p:nvPr/>
              </p:nvSpPr>
              <p:spPr>
                <a:xfrm rot="10800000">
                  <a:off x="14518584" y="3600521"/>
                  <a:ext cx="105309" cy="57157"/>
                </a:xfrm>
                <a:prstGeom prst="triangl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noProof="0" dirty="0">
                    <a:solidFill>
                      <a:schemeClr val="accent5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32" name="Groep 31">
                <a:extLst>
                  <a:ext uri="{FF2B5EF4-FFF2-40B4-BE49-F238E27FC236}">
                    <a16:creationId xmlns:a16="http://schemas.microsoft.com/office/drawing/2014/main" xmlns="" id="{FF186087-7B57-8941-B3EB-159AFB3FBB10}"/>
                  </a:ext>
                </a:extLst>
              </p:cNvPr>
              <p:cNvGrpSpPr/>
              <p:nvPr userDrawn="1"/>
            </p:nvGrpSpPr>
            <p:grpSpPr>
              <a:xfrm>
                <a:off x="12437429" y="1673053"/>
                <a:ext cx="407902" cy="410475"/>
                <a:chOff x="8066315" y="1676399"/>
                <a:chExt cx="1371600" cy="1380253"/>
              </a:xfrm>
            </p:grpSpPr>
            <p:sp>
              <p:nvSpPr>
                <p:cNvPr id="33" name="Rechthoek 32">
                  <a:extLst>
                    <a:ext uri="{FF2B5EF4-FFF2-40B4-BE49-F238E27FC236}">
                      <a16:creationId xmlns:a16="http://schemas.microsoft.com/office/drawing/2014/main" xmlns="" id="{264B82DD-03FD-A34D-AD4A-C7DA552DA069}"/>
                    </a:ext>
                  </a:extLst>
                </p:cNvPr>
                <p:cNvSpPr/>
                <p:nvPr userDrawn="1"/>
              </p:nvSpPr>
              <p:spPr>
                <a:xfrm>
                  <a:off x="8066315" y="1687286"/>
                  <a:ext cx="1360714" cy="1360714"/>
                </a:xfrm>
                <a:prstGeom prst="rect">
                  <a:avLst/>
                </a:prstGeom>
                <a:solidFill>
                  <a:srgbClr val="FFFFFF"/>
                </a:solidFill>
                <a:ln w="12700">
                  <a:solidFill>
                    <a:srgbClr val="6C6C6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dirty="0"/>
                </a:p>
              </p:txBody>
            </p:sp>
            <p:sp>
              <p:nvSpPr>
                <p:cNvPr id="34" name="Vrije vorm 33">
                  <a:extLst>
                    <a:ext uri="{FF2B5EF4-FFF2-40B4-BE49-F238E27FC236}">
                      <a16:creationId xmlns:a16="http://schemas.microsoft.com/office/drawing/2014/main" xmlns="" id="{0BD22063-7845-984B-A8FF-AF9B58E9FFA6}"/>
                    </a:ext>
                  </a:extLst>
                </p:cNvPr>
                <p:cNvSpPr/>
                <p:nvPr userDrawn="1"/>
              </p:nvSpPr>
              <p:spPr>
                <a:xfrm>
                  <a:off x="8077201" y="1676399"/>
                  <a:ext cx="1360714" cy="206829"/>
                </a:xfrm>
                <a:custGeom>
                  <a:avLst/>
                  <a:gdLst>
                    <a:gd name="connsiteX0" fmla="*/ 1186901 w 1360714"/>
                    <a:gd name="connsiteY0" fmla="*/ 41746 h 206829"/>
                    <a:gd name="connsiteX1" fmla="*/ 1186901 w 1360714"/>
                    <a:gd name="connsiteY1" fmla="*/ 175847 h 206829"/>
                    <a:gd name="connsiteX2" fmla="*/ 1315854 w 1360714"/>
                    <a:gd name="connsiteY2" fmla="*/ 175847 h 206829"/>
                    <a:gd name="connsiteX3" fmla="*/ 1315854 w 1360714"/>
                    <a:gd name="connsiteY3" fmla="*/ 41746 h 206829"/>
                    <a:gd name="connsiteX4" fmla="*/ 958249 w 1360714"/>
                    <a:gd name="connsiteY4" fmla="*/ 41746 h 206829"/>
                    <a:gd name="connsiteX5" fmla="*/ 958249 w 1360714"/>
                    <a:gd name="connsiteY5" fmla="*/ 175847 h 206829"/>
                    <a:gd name="connsiteX6" fmla="*/ 1087202 w 1360714"/>
                    <a:gd name="connsiteY6" fmla="*/ 175847 h 206829"/>
                    <a:gd name="connsiteX7" fmla="*/ 1087202 w 1360714"/>
                    <a:gd name="connsiteY7" fmla="*/ 41746 h 206829"/>
                    <a:gd name="connsiteX8" fmla="*/ 729440 w 1360714"/>
                    <a:gd name="connsiteY8" fmla="*/ 41746 h 206829"/>
                    <a:gd name="connsiteX9" fmla="*/ 729440 w 1360714"/>
                    <a:gd name="connsiteY9" fmla="*/ 175847 h 206829"/>
                    <a:gd name="connsiteX10" fmla="*/ 858393 w 1360714"/>
                    <a:gd name="connsiteY10" fmla="*/ 175847 h 206829"/>
                    <a:gd name="connsiteX11" fmla="*/ 858393 w 1360714"/>
                    <a:gd name="connsiteY11" fmla="*/ 41746 h 206829"/>
                    <a:gd name="connsiteX12" fmla="*/ 493889 w 1360714"/>
                    <a:gd name="connsiteY12" fmla="*/ 41746 h 206829"/>
                    <a:gd name="connsiteX13" fmla="*/ 493889 w 1360714"/>
                    <a:gd name="connsiteY13" fmla="*/ 175847 h 206829"/>
                    <a:gd name="connsiteX14" fmla="*/ 622842 w 1360714"/>
                    <a:gd name="connsiteY14" fmla="*/ 175847 h 206829"/>
                    <a:gd name="connsiteX15" fmla="*/ 622842 w 1360714"/>
                    <a:gd name="connsiteY15" fmla="*/ 41746 h 206829"/>
                    <a:gd name="connsiteX16" fmla="*/ 260368 w 1360714"/>
                    <a:gd name="connsiteY16" fmla="*/ 41746 h 206829"/>
                    <a:gd name="connsiteX17" fmla="*/ 260368 w 1360714"/>
                    <a:gd name="connsiteY17" fmla="*/ 175847 h 206829"/>
                    <a:gd name="connsiteX18" fmla="*/ 389321 w 1360714"/>
                    <a:gd name="connsiteY18" fmla="*/ 175847 h 206829"/>
                    <a:gd name="connsiteX19" fmla="*/ 389321 w 1360714"/>
                    <a:gd name="connsiteY19" fmla="*/ 41746 h 206829"/>
                    <a:gd name="connsiteX20" fmla="*/ 35169 w 1360714"/>
                    <a:gd name="connsiteY20" fmla="*/ 41746 h 206829"/>
                    <a:gd name="connsiteX21" fmla="*/ 35169 w 1360714"/>
                    <a:gd name="connsiteY21" fmla="*/ 175847 h 206829"/>
                    <a:gd name="connsiteX22" fmla="*/ 164122 w 1360714"/>
                    <a:gd name="connsiteY22" fmla="*/ 175847 h 206829"/>
                    <a:gd name="connsiteX23" fmla="*/ 164122 w 1360714"/>
                    <a:gd name="connsiteY23" fmla="*/ 41746 h 206829"/>
                    <a:gd name="connsiteX24" fmla="*/ 0 w 1360714"/>
                    <a:gd name="connsiteY24" fmla="*/ 0 h 206829"/>
                    <a:gd name="connsiteX25" fmla="*/ 1360714 w 1360714"/>
                    <a:gd name="connsiteY25" fmla="*/ 0 h 206829"/>
                    <a:gd name="connsiteX26" fmla="*/ 1360714 w 1360714"/>
                    <a:gd name="connsiteY26" fmla="*/ 206829 h 206829"/>
                    <a:gd name="connsiteX27" fmla="*/ 0 w 1360714"/>
                    <a:gd name="connsiteY27" fmla="*/ 206829 h 20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360714" h="206829">
                      <a:moveTo>
                        <a:pt x="1186901" y="41746"/>
                      </a:moveTo>
                      <a:lnTo>
                        <a:pt x="1186901" y="175847"/>
                      </a:lnTo>
                      <a:lnTo>
                        <a:pt x="1315854" y="175847"/>
                      </a:lnTo>
                      <a:lnTo>
                        <a:pt x="1315854" y="41746"/>
                      </a:lnTo>
                      <a:close/>
                      <a:moveTo>
                        <a:pt x="958249" y="41746"/>
                      </a:moveTo>
                      <a:lnTo>
                        <a:pt x="958249" y="175847"/>
                      </a:lnTo>
                      <a:lnTo>
                        <a:pt x="1087202" y="175847"/>
                      </a:lnTo>
                      <a:lnTo>
                        <a:pt x="1087202" y="41746"/>
                      </a:lnTo>
                      <a:close/>
                      <a:moveTo>
                        <a:pt x="729440" y="41746"/>
                      </a:moveTo>
                      <a:lnTo>
                        <a:pt x="729440" y="175847"/>
                      </a:lnTo>
                      <a:lnTo>
                        <a:pt x="858393" y="175847"/>
                      </a:lnTo>
                      <a:lnTo>
                        <a:pt x="858393" y="41746"/>
                      </a:lnTo>
                      <a:close/>
                      <a:moveTo>
                        <a:pt x="493889" y="41746"/>
                      </a:moveTo>
                      <a:lnTo>
                        <a:pt x="493889" y="175847"/>
                      </a:lnTo>
                      <a:lnTo>
                        <a:pt x="622842" y="175847"/>
                      </a:lnTo>
                      <a:lnTo>
                        <a:pt x="622842" y="41746"/>
                      </a:lnTo>
                      <a:close/>
                      <a:moveTo>
                        <a:pt x="260368" y="41746"/>
                      </a:moveTo>
                      <a:lnTo>
                        <a:pt x="260368" y="175847"/>
                      </a:lnTo>
                      <a:lnTo>
                        <a:pt x="389321" y="175847"/>
                      </a:lnTo>
                      <a:lnTo>
                        <a:pt x="389321" y="41746"/>
                      </a:lnTo>
                      <a:close/>
                      <a:moveTo>
                        <a:pt x="35169" y="41746"/>
                      </a:moveTo>
                      <a:lnTo>
                        <a:pt x="35169" y="175847"/>
                      </a:lnTo>
                      <a:lnTo>
                        <a:pt x="164122" y="175847"/>
                      </a:lnTo>
                      <a:lnTo>
                        <a:pt x="164122" y="41746"/>
                      </a:lnTo>
                      <a:close/>
                      <a:moveTo>
                        <a:pt x="0" y="0"/>
                      </a:moveTo>
                      <a:lnTo>
                        <a:pt x="1360714" y="0"/>
                      </a:lnTo>
                      <a:lnTo>
                        <a:pt x="1360714" y="206829"/>
                      </a:lnTo>
                      <a:lnTo>
                        <a:pt x="0" y="206829"/>
                      </a:lnTo>
                      <a:close/>
                    </a:path>
                  </a:pathLst>
                </a:cu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/>
                </a:p>
              </p:txBody>
            </p:sp>
            <p:sp>
              <p:nvSpPr>
                <p:cNvPr id="35" name="Vrije vorm 34">
                  <a:extLst>
                    <a:ext uri="{FF2B5EF4-FFF2-40B4-BE49-F238E27FC236}">
                      <a16:creationId xmlns:a16="http://schemas.microsoft.com/office/drawing/2014/main" xmlns="" id="{EB43A6A5-33DE-0F49-86C6-D53760C25184}"/>
                    </a:ext>
                  </a:extLst>
                </p:cNvPr>
                <p:cNvSpPr/>
                <p:nvPr userDrawn="1"/>
              </p:nvSpPr>
              <p:spPr>
                <a:xfrm>
                  <a:off x="8071339" y="2849823"/>
                  <a:ext cx="1360714" cy="206829"/>
                </a:xfrm>
                <a:custGeom>
                  <a:avLst/>
                  <a:gdLst>
                    <a:gd name="connsiteX0" fmla="*/ 1186901 w 1360714"/>
                    <a:gd name="connsiteY0" fmla="*/ 41746 h 206829"/>
                    <a:gd name="connsiteX1" fmla="*/ 1186901 w 1360714"/>
                    <a:gd name="connsiteY1" fmla="*/ 175847 h 206829"/>
                    <a:gd name="connsiteX2" fmla="*/ 1315854 w 1360714"/>
                    <a:gd name="connsiteY2" fmla="*/ 175847 h 206829"/>
                    <a:gd name="connsiteX3" fmla="*/ 1315854 w 1360714"/>
                    <a:gd name="connsiteY3" fmla="*/ 41746 h 206829"/>
                    <a:gd name="connsiteX4" fmla="*/ 958249 w 1360714"/>
                    <a:gd name="connsiteY4" fmla="*/ 41746 h 206829"/>
                    <a:gd name="connsiteX5" fmla="*/ 958249 w 1360714"/>
                    <a:gd name="connsiteY5" fmla="*/ 175847 h 206829"/>
                    <a:gd name="connsiteX6" fmla="*/ 1087202 w 1360714"/>
                    <a:gd name="connsiteY6" fmla="*/ 175847 h 206829"/>
                    <a:gd name="connsiteX7" fmla="*/ 1087202 w 1360714"/>
                    <a:gd name="connsiteY7" fmla="*/ 41746 h 206829"/>
                    <a:gd name="connsiteX8" fmla="*/ 729440 w 1360714"/>
                    <a:gd name="connsiteY8" fmla="*/ 41746 h 206829"/>
                    <a:gd name="connsiteX9" fmla="*/ 729440 w 1360714"/>
                    <a:gd name="connsiteY9" fmla="*/ 175847 h 206829"/>
                    <a:gd name="connsiteX10" fmla="*/ 858393 w 1360714"/>
                    <a:gd name="connsiteY10" fmla="*/ 175847 h 206829"/>
                    <a:gd name="connsiteX11" fmla="*/ 858393 w 1360714"/>
                    <a:gd name="connsiteY11" fmla="*/ 41746 h 206829"/>
                    <a:gd name="connsiteX12" fmla="*/ 493889 w 1360714"/>
                    <a:gd name="connsiteY12" fmla="*/ 41746 h 206829"/>
                    <a:gd name="connsiteX13" fmla="*/ 493889 w 1360714"/>
                    <a:gd name="connsiteY13" fmla="*/ 175847 h 206829"/>
                    <a:gd name="connsiteX14" fmla="*/ 622842 w 1360714"/>
                    <a:gd name="connsiteY14" fmla="*/ 175847 h 206829"/>
                    <a:gd name="connsiteX15" fmla="*/ 622842 w 1360714"/>
                    <a:gd name="connsiteY15" fmla="*/ 41746 h 206829"/>
                    <a:gd name="connsiteX16" fmla="*/ 260368 w 1360714"/>
                    <a:gd name="connsiteY16" fmla="*/ 41746 h 206829"/>
                    <a:gd name="connsiteX17" fmla="*/ 260368 w 1360714"/>
                    <a:gd name="connsiteY17" fmla="*/ 175847 h 206829"/>
                    <a:gd name="connsiteX18" fmla="*/ 389321 w 1360714"/>
                    <a:gd name="connsiteY18" fmla="*/ 175847 h 206829"/>
                    <a:gd name="connsiteX19" fmla="*/ 389321 w 1360714"/>
                    <a:gd name="connsiteY19" fmla="*/ 41746 h 206829"/>
                    <a:gd name="connsiteX20" fmla="*/ 35169 w 1360714"/>
                    <a:gd name="connsiteY20" fmla="*/ 41746 h 206829"/>
                    <a:gd name="connsiteX21" fmla="*/ 35169 w 1360714"/>
                    <a:gd name="connsiteY21" fmla="*/ 175847 h 206829"/>
                    <a:gd name="connsiteX22" fmla="*/ 164122 w 1360714"/>
                    <a:gd name="connsiteY22" fmla="*/ 175847 h 206829"/>
                    <a:gd name="connsiteX23" fmla="*/ 164122 w 1360714"/>
                    <a:gd name="connsiteY23" fmla="*/ 41746 h 206829"/>
                    <a:gd name="connsiteX24" fmla="*/ 0 w 1360714"/>
                    <a:gd name="connsiteY24" fmla="*/ 0 h 206829"/>
                    <a:gd name="connsiteX25" fmla="*/ 1360714 w 1360714"/>
                    <a:gd name="connsiteY25" fmla="*/ 0 h 206829"/>
                    <a:gd name="connsiteX26" fmla="*/ 1360714 w 1360714"/>
                    <a:gd name="connsiteY26" fmla="*/ 206829 h 206829"/>
                    <a:gd name="connsiteX27" fmla="*/ 0 w 1360714"/>
                    <a:gd name="connsiteY27" fmla="*/ 206829 h 206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1360714" h="206829">
                      <a:moveTo>
                        <a:pt x="1186901" y="41746"/>
                      </a:moveTo>
                      <a:lnTo>
                        <a:pt x="1186901" y="175847"/>
                      </a:lnTo>
                      <a:lnTo>
                        <a:pt x="1315854" y="175847"/>
                      </a:lnTo>
                      <a:lnTo>
                        <a:pt x="1315854" y="41746"/>
                      </a:lnTo>
                      <a:close/>
                      <a:moveTo>
                        <a:pt x="958249" y="41746"/>
                      </a:moveTo>
                      <a:lnTo>
                        <a:pt x="958249" y="175847"/>
                      </a:lnTo>
                      <a:lnTo>
                        <a:pt x="1087202" y="175847"/>
                      </a:lnTo>
                      <a:lnTo>
                        <a:pt x="1087202" y="41746"/>
                      </a:lnTo>
                      <a:close/>
                      <a:moveTo>
                        <a:pt x="729440" y="41746"/>
                      </a:moveTo>
                      <a:lnTo>
                        <a:pt x="729440" y="175847"/>
                      </a:lnTo>
                      <a:lnTo>
                        <a:pt x="858393" y="175847"/>
                      </a:lnTo>
                      <a:lnTo>
                        <a:pt x="858393" y="41746"/>
                      </a:lnTo>
                      <a:close/>
                      <a:moveTo>
                        <a:pt x="493889" y="41746"/>
                      </a:moveTo>
                      <a:lnTo>
                        <a:pt x="493889" y="175847"/>
                      </a:lnTo>
                      <a:lnTo>
                        <a:pt x="622842" y="175847"/>
                      </a:lnTo>
                      <a:lnTo>
                        <a:pt x="622842" y="41746"/>
                      </a:lnTo>
                      <a:close/>
                      <a:moveTo>
                        <a:pt x="260368" y="41746"/>
                      </a:moveTo>
                      <a:lnTo>
                        <a:pt x="260368" y="175847"/>
                      </a:lnTo>
                      <a:lnTo>
                        <a:pt x="389321" y="175847"/>
                      </a:lnTo>
                      <a:lnTo>
                        <a:pt x="389321" y="41746"/>
                      </a:lnTo>
                      <a:close/>
                      <a:moveTo>
                        <a:pt x="35169" y="41746"/>
                      </a:moveTo>
                      <a:lnTo>
                        <a:pt x="35169" y="175847"/>
                      </a:lnTo>
                      <a:lnTo>
                        <a:pt x="164122" y="175847"/>
                      </a:lnTo>
                      <a:lnTo>
                        <a:pt x="164122" y="41746"/>
                      </a:lnTo>
                      <a:close/>
                      <a:moveTo>
                        <a:pt x="0" y="0"/>
                      </a:moveTo>
                      <a:lnTo>
                        <a:pt x="1360714" y="0"/>
                      </a:lnTo>
                      <a:lnTo>
                        <a:pt x="1360714" y="206829"/>
                      </a:lnTo>
                      <a:lnTo>
                        <a:pt x="0" y="206829"/>
                      </a:lnTo>
                      <a:close/>
                    </a:path>
                  </a:pathLst>
                </a:custGeom>
                <a:solidFill>
                  <a:srgbClr val="6C6C6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/>
                </a:p>
              </p:txBody>
            </p:sp>
          </p:grpSp>
        </p:grpSp>
        <p:grpSp>
          <p:nvGrpSpPr>
            <p:cNvPr id="9" name="bijsnijden">
              <a:extLst>
                <a:ext uri="{FF2B5EF4-FFF2-40B4-BE49-F238E27FC236}">
                  <a16:creationId xmlns:a16="http://schemas.microsoft.com/office/drawing/2014/main" xmlns="" id="{E808FAB0-48D6-3D45-B729-25485998B162}"/>
                </a:ext>
              </a:extLst>
            </p:cNvPr>
            <p:cNvGrpSpPr/>
            <p:nvPr userDrawn="1"/>
          </p:nvGrpSpPr>
          <p:grpSpPr>
            <a:xfrm>
              <a:off x="12337391" y="5828002"/>
              <a:ext cx="857410" cy="828260"/>
              <a:chOff x="13104065" y="5655940"/>
              <a:chExt cx="857410" cy="828260"/>
            </a:xfrm>
          </p:grpSpPr>
          <p:grpSp>
            <p:nvGrpSpPr>
              <p:cNvPr id="13" name="Groep 12">
                <a:extLst>
                  <a:ext uri="{FF2B5EF4-FFF2-40B4-BE49-F238E27FC236}">
                    <a16:creationId xmlns:a16="http://schemas.microsoft.com/office/drawing/2014/main" xmlns="" id="{961E5A34-7344-E24B-842A-468448040B9C}"/>
                  </a:ext>
                </a:extLst>
              </p:cNvPr>
              <p:cNvGrpSpPr/>
              <p:nvPr userDrawn="1"/>
            </p:nvGrpSpPr>
            <p:grpSpPr>
              <a:xfrm>
                <a:off x="13284702" y="5655940"/>
                <a:ext cx="518384" cy="468745"/>
                <a:chOff x="13352037" y="5715656"/>
                <a:chExt cx="383714" cy="346970"/>
              </a:xfrm>
            </p:grpSpPr>
            <p:sp>
              <p:nvSpPr>
                <p:cNvPr id="16" name="Rechthoek 15">
                  <a:extLst>
                    <a:ext uri="{FF2B5EF4-FFF2-40B4-BE49-F238E27FC236}">
                      <a16:creationId xmlns:a16="http://schemas.microsoft.com/office/drawing/2014/main" xmlns="" id="{CAF338C9-7804-0842-ADAC-C906D71842C3}"/>
                    </a:ext>
                  </a:extLst>
                </p:cNvPr>
                <p:cNvSpPr/>
                <p:nvPr userDrawn="1"/>
              </p:nvSpPr>
              <p:spPr>
                <a:xfrm>
                  <a:off x="13377881" y="5717160"/>
                  <a:ext cx="324866" cy="270269"/>
                </a:xfrm>
                <a:prstGeom prst="rect">
                  <a:avLst/>
                </a:prstGeom>
                <a:noFill/>
                <a:ln w="9525">
                  <a:solidFill>
                    <a:schemeClr val="tx1">
                      <a:lumMod val="65000"/>
                      <a:lumOff val="35000"/>
                    </a:schemeClr>
                  </a:solidFill>
                  <a:prstDash val="sys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cs typeface="Segoe UI Light" panose="020B0502040204020203" pitchFamily="34" charset="0"/>
                  </a:endParaRPr>
                </a:p>
              </p:txBody>
            </p:sp>
            <p:pic>
              <p:nvPicPr>
                <p:cNvPr id="17" name="Afbeelding 16">
                  <a:extLst>
                    <a:ext uri="{FF2B5EF4-FFF2-40B4-BE49-F238E27FC236}">
                      <a16:creationId xmlns:a16="http://schemas.microsoft.com/office/drawing/2014/main" xmlns="" id="{EFFD98BA-66E8-A743-9B3E-296BA36D30FD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 rotWithShape="1"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13352037" y="5715656"/>
                  <a:ext cx="231884" cy="275611"/>
                </a:xfrm>
                <a:prstGeom prst="rect">
                  <a:avLst/>
                </a:prstGeom>
                <a:ln w="9525">
                  <a:solidFill>
                    <a:schemeClr val="bg1">
                      <a:lumMod val="50000"/>
                    </a:schemeClr>
                  </a:solidFill>
                </a:ln>
              </p:spPr>
            </p:pic>
            <p:sp>
              <p:nvSpPr>
                <p:cNvPr id="19" name="L-vorm 18">
                  <a:extLst>
                    <a:ext uri="{FF2B5EF4-FFF2-40B4-BE49-F238E27FC236}">
                      <a16:creationId xmlns:a16="http://schemas.microsoft.com/office/drawing/2014/main" xmlns="" id="{4D0ECF3D-7713-AF49-8B08-283844155901}"/>
                    </a:ext>
                  </a:extLst>
                </p:cNvPr>
                <p:cNvSpPr/>
                <p:nvPr userDrawn="1"/>
              </p:nvSpPr>
              <p:spPr>
                <a:xfrm rot="5400000">
                  <a:off x="13595231" y="5922107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0" name="L-vorm 19">
                  <a:extLst>
                    <a:ext uri="{FF2B5EF4-FFF2-40B4-BE49-F238E27FC236}">
                      <a16:creationId xmlns:a16="http://schemas.microsoft.com/office/drawing/2014/main" xmlns="" id="{A42F17FF-EF5F-714C-9A0B-10D9DD589360}"/>
                    </a:ext>
                  </a:extLst>
                </p:cNvPr>
                <p:cNvSpPr/>
                <p:nvPr userDrawn="1"/>
              </p:nvSpPr>
              <p:spPr>
                <a:xfrm rot="5400000" flipH="1" flipV="1">
                  <a:off x="13571296" y="5896455"/>
                  <a:ext cx="129209" cy="151830"/>
                </a:xfrm>
                <a:prstGeom prst="corner">
                  <a:avLst>
                    <a:gd name="adj1" fmla="val 14726"/>
                    <a:gd name="adj2" fmla="val 14726"/>
                  </a:avLst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350"/>
                    </a:spcBef>
                    <a:spcAft>
                      <a:spcPts val="350"/>
                    </a:spcAft>
                  </a:pPr>
                  <a:endParaRPr lang="nl-NL" sz="1600" dirty="0">
                    <a:solidFill>
                      <a:schemeClr val="accent4"/>
                    </a:solidFill>
                    <a:cs typeface="Segoe UI Light" panose="020B0502040204020203" pitchFamily="34" charset="0"/>
                  </a:endParaRPr>
                </a:p>
              </p:txBody>
            </p:sp>
          </p:grpSp>
          <p:sp>
            <p:nvSpPr>
              <p:cNvPr id="14" name="Tekstvak 76">
                <a:extLst>
                  <a:ext uri="{FF2B5EF4-FFF2-40B4-BE49-F238E27FC236}">
                    <a16:creationId xmlns:a16="http://schemas.microsoft.com/office/drawing/2014/main" xmlns="" id="{7628DE72-B9F2-EC47-BF82-5C496491441E}"/>
                  </a:ext>
                </a:extLst>
              </p:cNvPr>
              <p:cNvSpPr txBox="1"/>
              <p:nvPr userDrawn="1"/>
            </p:nvSpPr>
            <p:spPr>
              <a:xfrm>
                <a:off x="13104065" y="6172998"/>
                <a:ext cx="857410" cy="246221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000" b="1" i="0" u="none" strike="noStrike" kern="0" cap="none" spc="0" normalizeH="0" baseline="0" dirty="0">
                    <a:ln>
                      <a:noFill/>
                    </a:ln>
                    <a:solidFill>
                      <a:schemeClr val="accent5"/>
                    </a:solidFill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+mn-lt"/>
                    <a:cs typeface="Segoe UI Light" panose="020B0502040204020203" pitchFamily="34" charset="0"/>
                  </a:rPr>
                  <a:t>Bijsnijden</a:t>
                </a:r>
              </a:p>
            </p:txBody>
          </p:sp>
          <p:sp>
            <p:nvSpPr>
              <p:cNvPr id="15" name="Rechthoekige driehoek 14">
                <a:extLst>
                  <a:ext uri="{FF2B5EF4-FFF2-40B4-BE49-F238E27FC236}">
                    <a16:creationId xmlns:a16="http://schemas.microsoft.com/office/drawing/2014/main" xmlns="" id="{1E1E26AD-E395-0A48-8FBF-10EDDC8E586D}"/>
                  </a:ext>
                </a:extLst>
              </p:cNvPr>
              <p:cNvSpPr/>
              <p:nvPr userDrawn="1"/>
            </p:nvSpPr>
            <p:spPr>
              <a:xfrm rot="18900000">
                <a:off x="13499178" y="6417015"/>
                <a:ext cx="67185" cy="67185"/>
              </a:xfrm>
              <a:prstGeom prst="rtTriangl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50"/>
                  </a:spcBef>
                  <a:spcAft>
                    <a:spcPts val="350"/>
                  </a:spcAft>
                </a:pPr>
                <a:endParaRPr lang="nl-NL" sz="1600" dirty="0">
                  <a:solidFill>
                    <a:schemeClr val="accent5"/>
                  </a:solidFill>
                  <a:cs typeface="Segoe UI Light" panose="020B0502040204020203" pitchFamily="34" charset="0"/>
                </a:endParaRPr>
              </a:p>
            </p:txBody>
          </p:sp>
        </p:grpSp>
        <p:cxnSp>
          <p:nvCxnSpPr>
            <p:cNvPr id="10" name="Rechte verbindingslijn 9">
              <a:extLst>
                <a:ext uri="{FF2B5EF4-FFF2-40B4-BE49-F238E27FC236}">
                  <a16:creationId xmlns:a16="http://schemas.microsoft.com/office/drawing/2014/main" xmlns="" id="{85C17631-80DC-B647-A88E-92C3A9FCA97F}"/>
                </a:ext>
              </a:extLst>
            </p:cNvPr>
            <p:cNvCxnSpPr/>
            <p:nvPr userDrawn="1"/>
          </p:nvCxnSpPr>
          <p:spPr>
            <a:xfrm>
              <a:off x="12446162" y="6863444"/>
              <a:ext cx="2704546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sp>
          <p:nvSpPr>
            <p:cNvPr id="11" name="Tekstvak 33">
              <a:extLst>
                <a:ext uri="{FF2B5EF4-FFF2-40B4-BE49-F238E27FC236}">
                  <a16:creationId xmlns:a16="http://schemas.microsoft.com/office/drawing/2014/main" xmlns="" id="{18545FCD-8F6D-E240-9453-B214F04AA974}"/>
                </a:ext>
              </a:extLst>
            </p:cNvPr>
            <p:cNvSpPr txBox="1"/>
            <p:nvPr userDrawn="1"/>
          </p:nvSpPr>
          <p:spPr>
            <a:xfrm>
              <a:off x="12441149" y="4324894"/>
              <a:ext cx="2710405" cy="131163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noProof="0" dirty="0">
                  <a:solidFill>
                    <a:schemeClr val="accent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ls u de afbeelding wilt schalen of verslepen, ga naar </a:t>
              </a:r>
              <a:r>
                <a:rPr lang="nl-NL" sz="1200" b="1" kern="0" noProof="0" dirty="0">
                  <a:solidFill>
                    <a:schemeClr val="accent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‘Hulpmiddelen voor afbeeldingen’ </a:t>
              </a:r>
              <a:r>
                <a:rPr lang="nl-NL" sz="1200" kern="0" noProof="0" dirty="0">
                  <a:solidFill>
                    <a:schemeClr val="accent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n klik op </a:t>
              </a:r>
              <a:r>
                <a:rPr lang="nl-NL" sz="1200" b="1" kern="0" noProof="0" dirty="0">
                  <a:solidFill>
                    <a:schemeClr val="accent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‘Bijsnijden’.</a:t>
              </a:r>
            </a:p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noProof="0" dirty="0">
                  <a:solidFill>
                    <a:schemeClr val="accent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Met de witte bolletjes schaalt u de afbeelding, met de zwarte haakjes schaalt u het afbeeldingskader.</a:t>
              </a:r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xmlns="" id="{5FA939C9-01D6-594D-A282-D9B9A82C4507}"/>
                </a:ext>
              </a:extLst>
            </p:cNvPr>
            <p:cNvSpPr/>
            <p:nvPr userDrawn="1"/>
          </p:nvSpPr>
          <p:spPr>
            <a:xfrm>
              <a:off x="12441150" y="3868198"/>
              <a:ext cx="327206" cy="327206"/>
            </a:xfrm>
            <a:prstGeom prst="ellipse">
              <a:avLst/>
            </a:prstGeom>
            <a:solidFill>
              <a:schemeClr val="tx1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854587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pening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xmlns="" id="{FF773D50-55BA-A547-BB5C-CD0EC05126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8263" y="764704"/>
            <a:ext cx="11233247" cy="5832648"/>
          </a:xfrm>
          <a:prstGeom prst="rect">
            <a:avLst/>
          </a:prstGeom>
        </p:spPr>
      </p:pic>
      <p:sp>
        <p:nvSpPr>
          <p:cNvPr id="12" name="Tijdelijke aanduiding voor datum 2">
            <a:extLst>
              <a:ext uri="{FF2B5EF4-FFF2-40B4-BE49-F238E27FC236}">
                <a16:creationId xmlns:a16="http://schemas.microsoft.com/office/drawing/2014/main" xmlns="" id="{AA6051EB-960F-A947-8376-2AECDFCDCD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99F297C-0215-F342-A84E-041E51EBAC86}" type="datetime1">
              <a:rPr lang="nl-NL" smtClean="0"/>
              <a:t>29-4-2019</a:t>
            </a:fld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xmlns="" id="{ECFB8988-D610-E64C-95B1-765EC2249F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36912"/>
            <a:ext cx="6336704" cy="3960440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xmlns="" id="{3A9B2414-DB50-AC41-A4FC-7D95F00CC4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22824"/>
            <a:ext cx="6336704" cy="3974528"/>
          </a:xfrm>
          <a:prstGeom prst="rect">
            <a:avLst/>
          </a:prstGeom>
        </p:spPr>
      </p:pic>
      <p:sp>
        <p:nvSpPr>
          <p:cNvPr id="14" name="Rectangle 119">
            <a:extLst>
              <a:ext uri="{FF2B5EF4-FFF2-40B4-BE49-F238E27FC236}">
                <a16:creationId xmlns:a16="http://schemas.microsoft.com/office/drawing/2014/main" xmlns="" id="{799559AE-87A9-0F44-8E89-899E4E884AF5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136117" y="4365104"/>
            <a:ext cx="3989330" cy="720080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ts val="23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sz="24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 noProof="0" dirty="0"/>
              <a:t>Klikken om de titelstijl van het model te bewerken</a:t>
            </a:r>
            <a:endParaRPr lang="en-US" noProof="0" dirty="0"/>
          </a:p>
        </p:txBody>
      </p:sp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xmlns="" id="{148000E4-37BC-B342-8AF1-98CFBA7FCA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6117" y="5273551"/>
            <a:ext cx="3989330" cy="11077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7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Tekststijl van het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39095788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kstvak 48"/>
          <p:cNvSpPr txBox="1"/>
          <p:nvPr userDrawn="1"/>
        </p:nvSpPr>
        <p:spPr>
          <a:xfrm>
            <a:off x="-85057" y="-437946"/>
            <a:ext cx="41537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0" i="0" dirty="0">
                <a:solidFill>
                  <a:schemeClr val="accent5"/>
                </a:solidFill>
                <a:latin typeface="Arial"/>
                <a:cs typeface="Arial"/>
              </a:rPr>
              <a:t>100% TABEL</a:t>
            </a:r>
          </a:p>
        </p:txBody>
      </p:sp>
      <p:sp>
        <p:nvSpPr>
          <p:cNvPr id="47" name="Rectangle 2">
            <a:extLst>
              <a:ext uri="{FF2B5EF4-FFF2-40B4-BE49-F238E27FC236}">
                <a16:creationId xmlns:a16="http://schemas.microsoft.com/office/drawing/2014/main" xmlns="" id="{F3897166-E732-3E4F-A7D8-BF51320492C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958" y="908721"/>
            <a:ext cx="11235553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Titelstijl van model bewerken</a:t>
            </a:r>
          </a:p>
        </p:txBody>
      </p:sp>
      <p:sp>
        <p:nvSpPr>
          <p:cNvPr id="6" name="Tijdelijke aanduiding voor voettekst 1">
            <a:extLst>
              <a:ext uri="{FF2B5EF4-FFF2-40B4-BE49-F238E27FC236}">
                <a16:creationId xmlns:a16="http://schemas.microsoft.com/office/drawing/2014/main" xmlns="" id="{872A48C8-14CF-5140-A92A-C47A1CEF5A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958" y="6304235"/>
            <a:ext cx="112355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l-NL" dirty="0"/>
              <a:t>Energieopslag, het kan fout gaan</a:t>
            </a:r>
          </a:p>
        </p:txBody>
      </p:sp>
      <p:sp>
        <p:nvSpPr>
          <p:cNvPr id="7" name="Tijdelijke aanduiding voor datum 2">
            <a:extLst>
              <a:ext uri="{FF2B5EF4-FFF2-40B4-BE49-F238E27FC236}">
                <a16:creationId xmlns:a16="http://schemas.microsoft.com/office/drawing/2014/main" xmlns="" id="{15861872-B575-DF48-8E35-6F9BD62A08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79AAF3D-BDAD-FB47-A2B6-3908E653B9F7}" type="datetime1">
              <a:rPr lang="nl-NL" smtClean="0"/>
              <a:t>29-4-2019</a:t>
            </a:fld>
            <a:endParaRPr lang="nl-NL" dirty="0"/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xmlns="" id="{9DF7B571-CD0A-614D-8D03-EAADBC8A9F4C}"/>
              </a:ext>
            </a:extLst>
          </p:cNvPr>
          <p:cNvGrpSpPr/>
          <p:nvPr userDrawn="1"/>
        </p:nvGrpSpPr>
        <p:grpSpPr>
          <a:xfrm>
            <a:off x="12441148" y="14897"/>
            <a:ext cx="2710407" cy="3676571"/>
            <a:chOff x="12441148" y="14897"/>
            <a:chExt cx="2710407" cy="3676571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xmlns="" id="{164C03B7-FD96-C743-A137-10CB4AD4D3CF}"/>
                </a:ext>
              </a:extLst>
            </p:cNvPr>
            <p:cNvSpPr/>
            <p:nvPr/>
          </p:nvSpPr>
          <p:spPr>
            <a:xfrm>
              <a:off x="12441150" y="14897"/>
              <a:ext cx="2696270" cy="16177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lnSpc>
                  <a:spcPct val="80000"/>
                </a:lnSpc>
              </a:pPr>
              <a:r>
                <a:rPr lang="nl-NL" sz="1600" b="1" kern="0" cap="all" baseline="0" noProof="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abel INVOEGEN</a:t>
              </a:r>
            </a:p>
          </p:txBody>
        </p:sp>
        <p:sp>
          <p:nvSpPr>
            <p:cNvPr id="10" name="Tekstvak 33">
              <a:extLst>
                <a:ext uri="{FF2B5EF4-FFF2-40B4-BE49-F238E27FC236}">
                  <a16:creationId xmlns:a16="http://schemas.microsoft.com/office/drawing/2014/main" xmlns="" id="{C6FA6A06-E454-7B4E-ACC4-B1272603161F}"/>
                </a:ext>
              </a:extLst>
            </p:cNvPr>
            <p:cNvSpPr txBox="1"/>
            <p:nvPr/>
          </p:nvSpPr>
          <p:spPr>
            <a:xfrm>
              <a:off x="12441149" y="814239"/>
              <a:ext cx="2710405" cy="7198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noProof="0" dirty="0">
                  <a:solidFill>
                    <a:schemeClr val="accent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dien nodig, verwijder de bestaande tabel. Klik op het pictogram om </a:t>
              </a:r>
              <a:br>
                <a:rPr lang="nl-NL" sz="1200" kern="0" noProof="0" dirty="0">
                  <a:solidFill>
                    <a:schemeClr val="accent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nl-NL" sz="1200" kern="0" noProof="0" dirty="0">
                  <a:solidFill>
                    <a:schemeClr val="accent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en tabel in te voegen</a:t>
              </a:r>
              <a:br>
                <a:rPr lang="nl-NL" sz="1200" kern="0" noProof="0" dirty="0">
                  <a:solidFill>
                    <a:schemeClr val="accent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nl-NL" sz="1100" i="1" kern="0" noProof="0" dirty="0">
                  <a:solidFill>
                    <a:schemeClr val="accent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(zie onderstaand voorbeeld).</a:t>
              </a:r>
            </a:p>
          </p:txBody>
        </p:sp>
        <p:sp>
          <p:nvSpPr>
            <p:cNvPr id="11" name="Tekstvak 33">
              <a:extLst>
                <a:ext uri="{FF2B5EF4-FFF2-40B4-BE49-F238E27FC236}">
                  <a16:creationId xmlns:a16="http://schemas.microsoft.com/office/drawing/2014/main" xmlns="" id="{63786888-DBE7-6947-90C0-3FC0DE672355}"/>
                </a:ext>
              </a:extLst>
            </p:cNvPr>
            <p:cNvSpPr txBox="1"/>
            <p:nvPr/>
          </p:nvSpPr>
          <p:spPr>
            <a:xfrm>
              <a:off x="12441149" y="2793904"/>
              <a:ext cx="2710405" cy="395943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noAutofit/>
            </a:bodyPr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nl-NL" sz="1200" kern="0" dirty="0">
                  <a:solidFill>
                    <a:schemeClr val="accent5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electeer het aantal rijen en kolommen en klik op </a:t>
              </a:r>
              <a:r>
                <a:rPr lang="nl-NL" sz="1200" b="1" kern="0" noProof="0" dirty="0">
                  <a:solidFill>
                    <a:schemeClr val="accent5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‘OK’</a:t>
              </a:r>
            </a:p>
          </p:txBody>
        </p:sp>
        <p:sp>
          <p:nvSpPr>
            <p:cNvPr id="12" name="Ovaal 11">
              <a:extLst>
                <a:ext uri="{FF2B5EF4-FFF2-40B4-BE49-F238E27FC236}">
                  <a16:creationId xmlns:a16="http://schemas.microsoft.com/office/drawing/2014/main" xmlns="" id="{6F88A153-4410-D34A-AB03-A24F942CB1AA}"/>
                </a:ext>
              </a:extLst>
            </p:cNvPr>
            <p:cNvSpPr/>
            <p:nvPr/>
          </p:nvSpPr>
          <p:spPr>
            <a:xfrm>
              <a:off x="12441150" y="379292"/>
              <a:ext cx="327206" cy="327206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sp>
          <p:nvSpPr>
            <p:cNvPr id="13" name="Ovaal 12">
              <a:extLst>
                <a:ext uri="{FF2B5EF4-FFF2-40B4-BE49-F238E27FC236}">
                  <a16:creationId xmlns:a16="http://schemas.microsoft.com/office/drawing/2014/main" xmlns="" id="{608F664B-1C09-4744-B848-66CB736CB0F1}"/>
                </a:ext>
              </a:extLst>
            </p:cNvPr>
            <p:cNvSpPr/>
            <p:nvPr/>
          </p:nvSpPr>
          <p:spPr>
            <a:xfrm>
              <a:off x="12441150" y="2337208"/>
              <a:ext cx="327206" cy="327206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36000" rIns="0" bIns="43200" rtlCol="0" anchor="ctr"/>
            <a:lstStyle>
              <a:defPPr>
                <a:defRPr lang="nl-NL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cxnSp>
          <p:nvCxnSpPr>
            <p:cNvPr id="14" name="Rechte verbindingslijn 13">
              <a:extLst>
                <a:ext uri="{FF2B5EF4-FFF2-40B4-BE49-F238E27FC236}">
                  <a16:creationId xmlns:a16="http://schemas.microsoft.com/office/drawing/2014/main" xmlns="" id="{8C9CC170-A4FF-944C-8CB6-5F8BEE03E4FA}"/>
                </a:ext>
              </a:extLst>
            </p:cNvPr>
            <p:cNvCxnSpPr/>
            <p:nvPr/>
          </p:nvCxnSpPr>
          <p:spPr>
            <a:xfrm>
              <a:off x="12441150" y="248176"/>
              <a:ext cx="2710405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15" name="Rechte verbindingslijn 14">
              <a:extLst>
                <a:ext uri="{FF2B5EF4-FFF2-40B4-BE49-F238E27FC236}">
                  <a16:creationId xmlns:a16="http://schemas.microsoft.com/office/drawing/2014/main" xmlns="" id="{37B1E990-C0F8-1C48-9FB6-108F0FD1DE03}"/>
                </a:ext>
              </a:extLst>
            </p:cNvPr>
            <p:cNvCxnSpPr/>
            <p:nvPr/>
          </p:nvCxnSpPr>
          <p:spPr>
            <a:xfrm>
              <a:off x="12441149" y="2212830"/>
              <a:ext cx="2710405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xmlns="" id="{19BC01F7-71E4-E440-B020-A55B858F501B}"/>
                </a:ext>
              </a:extLst>
            </p:cNvPr>
            <p:cNvCxnSpPr/>
            <p:nvPr/>
          </p:nvCxnSpPr>
          <p:spPr>
            <a:xfrm>
              <a:off x="12444679" y="3691468"/>
              <a:ext cx="2706875" cy="0"/>
            </a:xfrm>
            <a:prstGeom prst="line">
              <a:avLst/>
            </a:prstGeom>
            <a:noFill/>
            <a:ln w="9525" cap="flat" cmpd="sng" algn="ctr">
              <a:solidFill>
                <a:schemeClr val="accent5"/>
              </a:solidFill>
              <a:prstDash val="solid"/>
            </a:ln>
            <a:effectLst/>
          </p:spPr>
        </p:cxnSp>
        <p:grpSp>
          <p:nvGrpSpPr>
            <p:cNvPr id="17" name="Groep 16">
              <a:extLst>
                <a:ext uri="{FF2B5EF4-FFF2-40B4-BE49-F238E27FC236}">
                  <a16:creationId xmlns:a16="http://schemas.microsoft.com/office/drawing/2014/main" xmlns="" id="{B8D0CC93-D730-584D-BA10-EA94901E7996}"/>
                </a:ext>
              </a:extLst>
            </p:cNvPr>
            <p:cNvGrpSpPr/>
            <p:nvPr/>
          </p:nvGrpSpPr>
          <p:grpSpPr>
            <a:xfrm>
              <a:off x="12450571" y="3301369"/>
              <a:ext cx="1002992" cy="267962"/>
              <a:chOff x="13560784" y="3471416"/>
              <a:chExt cx="1114138" cy="297656"/>
            </a:xfrm>
          </p:grpSpPr>
          <p:sp>
            <p:nvSpPr>
              <p:cNvPr id="27" name="Afgeronde rechthoek 26">
                <a:extLst>
                  <a:ext uri="{FF2B5EF4-FFF2-40B4-BE49-F238E27FC236}">
                    <a16:creationId xmlns:a16="http://schemas.microsoft.com/office/drawing/2014/main" xmlns="" id="{6F034A3D-DAB3-C940-A765-C6B2260E3C08}"/>
                  </a:ext>
                </a:extLst>
              </p:cNvPr>
              <p:cNvSpPr/>
              <p:nvPr/>
            </p:nvSpPr>
            <p:spPr>
              <a:xfrm>
                <a:off x="13560784" y="3471416"/>
                <a:ext cx="1114138" cy="297656"/>
              </a:xfrm>
              <a:prstGeom prst="roundRect">
                <a:avLst/>
              </a:prstGeom>
              <a:gradFill flip="none" rotWithShape="1">
                <a:gsLst>
                  <a:gs pos="4000">
                    <a:srgbClr val="00B0F0"/>
                  </a:gs>
                  <a:gs pos="0">
                    <a:srgbClr val="0070C0"/>
                  </a:gs>
                  <a:gs pos="100000">
                    <a:srgbClr val="0070C0"/>
                  </a:gs>
                  <a:gs pos="12000">
                    <a:srgbClr val="D1EAFF"/>
                  </a:gs>
                  <a:gs pos="96000">
                    <a:srgbClr val="00B0F0"/>
                  </a:gs>
                  <a:gs pos="89000">
                    <a:srgbClr val="DDF4FF"/>
                  </a:gs>
                  <a:gs pos="43000">
                    <a:srgbClr val="D1EAFF"/>
                  </a:gs>
                  <a:gs pos="51000">
                    <a:srgbClr val="DDF4FF"/>
                  </a:gs>
                </a:gsLst>
                <a:lin ang="16200000" scaled="1"/>
                <a:tileRect/>
              </a:gradFill>
              <a:ln w="6350">
                <a:solidFill>
                  <a:schemeClr val="bg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noProof="0" dirty="0">
                  <a:latin typeface="+mn-lt"/>
                </a:endParaRPr>
              </a:p>
            </p:txBody>
          </p:sp>
          <p:sp>
            <p:nvSpPr>
              <p:cNvPr id="28" name="Tekstvak 27">
                <a:extLst>
                  <a:ext uri="{FF2B5EF4-FFF2-40B4-BE49-F238E27FC236}">
                    <a16:creationId xmlns:a16="http://schemas.microsoft.com/office/drawing/2014/main" xmlns="" id="{D8BCC365-C6A6-DC4D-A5B6-7CF88BC05653}"/>
                  </a:ext>
                </a:extLst>
              </p:cNvPr>
              <p:cNvSpPr txBox="1"/>
              <p:nvPr/>
            </p:nvSpPr>
            <p:spPr>
              <a:xfrm>
                <a:off x="13573594" y="3488254"/>
                <a:ext cx="888311" cy="27350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nl-NL"/>
                </a:defPPr>
                <a:lvl1pPr marR="0" lvl="0" indent="0" algn="ctr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900" i="0" u="none" strike="noStrike" kern="0" cap="none" spc="0" normalizeH="0" baseline="0">
                    <a:ln>
                      <a:noFill/>
                    </a:ln>
                    <a:effectLst>
                      <a:outerShdw blurRad="25400" algn="ctr" rotWithShape="0">
                        <a:prstClr val="white"/>
                      </a:outerShdw>
                    </a:effectLst>
                    <a:uLnTx/>
                    <a:uFillTx/>
                    <a:latin typeface="Segoe UI Light" panose="020B0502040204020203" pitchFamily="34" charset="0"/>
                    <a:cs typeface="Segoe UI Light" panose="020B0502040204020203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Arial" charset="0"/>
                    <a:cs typeface="Arial" charset="0"/>
                  </a:defRPr>
                </a:lvl5pPr>
                <a:lvl6pPr>
                  <a:defRPr>
                    <a:latin typeface="Arial" charset="0"/>
                    <a:cs typeface="Arial" charset="0"/>
                  </a:defRPr>
                </a:lvl6pPr>
                <a:lvl7pPr>
                  <a:defRPr>
                    <a:latin typeface="Arial" charset="0"/>
                    <a:cs typeface="Arial" charset="0"/>
                  </a:defRPr>
                </a:lvl7pPr>
                <a:lvl8pPr>
                  <a:defRPr>
                    <a:latin typeface="Arial" charset="0"/>
                    <a:cs typeface="Arial" charset="0"/>
                  </a:defRPr>
                </a:lvl8pPr>
                <a:lvl9pPr>
                  <a:defRPr>
                    <a:latin typeface="Arial" charset="0"/>
                    <a:cs typeface="Arial" charset="0"/>
                  </a:defRPr>
                </a:lvl9pPr>
              </a:lstStyle>
              <a:p>
                <a:r>
                  <a:rPr lang="nl-NL" sz="1000" noProof="0" dirty="0">
                    <a:solidFill>
                      <a:schemeClr val="accent5"/>
                    </a:solidFill>
                    <a:latin typeface="+mn-lt"/>
                  </a:rPr>
                  <a:t>OK</a:t>
                </a:r>
              </a:p>
            </p:txBody>
          </p:sp>
          <p:cxnSp>
            <p:nvCxnSpPr>
              <p:cNvPr id="29" name="Rechte verbindingslijn 28">
                <a:extLst>
                  <a:ext uri="{FF2B5EF4-FFF2-40B4-BE49-F238E27FC236}">
                    <a16:creationId xmlns:a16="http://schemas.microsoft.com/office/drawing/2014/main" xmlns="" id="{B3AB9CCF-B415-7840-920D-A1C5E4347BAF}"/>
                  </a:ext>
                </a:extLst>
              </p:cNvPr>
              <p:cNvCxnSpPr/>
              <p:nvPr/>
            </p:nvCxnSpPr>
            <p:spPr>
              <a:xfrm>
                <a:off x="14461905" y="3507058"/>
                <a:ext cx="0" cy="224432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Gelijkbenige driehoek 74">
                <a:extLst>
                  <a:ext uri="{FF2B5EF4-FFF2-40B4-BE49-F238E27FC236}">
                    <a16:creationId xmlns:a16="http://schemas.microsoft.com/office/drawing/2014/main" xmlns="" id="{39B5AB47-C21D-B84A-8544-07A7B6DE9796}"/>
                  </a:ext>
                </a:extLst>
              </p:cNvPr>
              <p:cNvSpPr/>
              <p:nvPr/>
            </p:nvSpPr>
            <p:spPr>
              <a:xfrm rot="10800000">
                <a:off x="14518584" y="3600521"/>
                <a:ext cx="105309" cy="57157"/>
              </a:xfrm>
              <a:prstGeom prst="triangl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nl-NL" noProof="0" dirty="0">
                  <a:solidFill>
                    <a:schemeClr val="accent5"/>
                  </a:solidFill>
                  <a:latin typeface="+mn-lt"/>
                </a:endParaRPr>
              </a:p>
            </p:txBody>
          </p:sp>
        </p:grpSp>
        <p:grpSp>
          <p:nvGrpSpPr>
            <p:cNvPr id="18" name="Groep 17">
              <a:extLst>
                <a:ext uri="{FF2B5EF4-FFF2-40B4-BE49-F238E27FC236}">
                  <a16:creationId xmlns:a16="http://schemas.microsoft.com/office/drawing/2014/main" xmlns="" id="{33537E91-5EC0-E440-B729-04379FB24D31}"/>
                </a:ext>
              </a:extLst>
            </p:cNvPr>
            <p:cNvGrpSpPr/>
            <p:nvPr userDrawn="1"/>
          </p:nvGrpSpPr>
          <p:grpSpPr>
            <a:xfrm>
              <a:off x="12441148" y="1674386"/>
              <a:ext cx="445181" cy="402106"/>
              <a:chOff x="6072040" y="3376043"/>
              <a:chExt cx="1227920" cy="1109109"/>
            </a:xfrm>
          </p:grpSpPr>
          <p:sp>
            <p:nvSpPr>
              <p:cNvPr id="19" name="Rechthoek 18">
                <a:extLst>
                  <a:ext uri="{FF2B5EF4-FFF2-40B4-BE49-F238E27FC236}">
                    <a16:creationId xmlns:a16="http://schemas.microsoft.com/office/drawing/2014/main" xmlns="" id="{91B6C463-BC1C-964E-A025-0A53B49A7826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rgbClr val="FFFFFF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20" name="Rechthoek 19">
                <a:extLst>
                  <a:ext uri="{FF2B5EF4-FFF2-40B4-BE49-F238E27FC236}">
                    <a16:creationId xmlns:a16="http://schemas.microsoft.com/office/drawing/2014/main" xmlns="" id="{248BB707-1F8D-F84D-938B-99E6E92680D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xmlns="" id="{3E62FA61-C62E-AC43-AFF8-1E716CD8BDC9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xmlns="" id="{8BD22452-DC44-AF4E-8260-F7EFAE2FE6DA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xmlns="" id="{8DE618C8-5212-6A4E-90BA-AD9406D9B9C1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xmlns="" id="{F48D166A-BACD-8145-B0F4-105B0CC989B6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xmlns="" id="{6CEFC5EE-2C6B-BF43-9922-566A6C384568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Rechthoek 25">
                <a:extLst>
                  <a:ext uri="{FF2B5EF4-FFF2-40B4-BE49-F238E27FC236}">
                    <a16:creationId xmlns:a16="http://schemas.microsoft.com/office/drawing/2014/main" xmlns="" id="{21B7E008-612C-0740-BC50-221B9E67E4F4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905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</p:grpSp>
      </p:grpSp>
      <p:graphicFrame>
        <p:nvGraphicFramePr>
          <p:cNvPr id="32" name="Group 90">
            <a:extLst>
              <a:ext uri="{FF2B5EF4-FFF2-40B4-BE49-F238E27FC236}">
                <a16:creationId xmlns:a16="http://schemas.microsoft.com/office/drawing/2014/main" xmlns="" id="{4BCA2CC8-B817-C742-A0E1-45F728B757FC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879709773"/>
              </p:ext>
            </p:extLst>
          </p:nvPr>
        </p:nvGraphicFramePr>
        <p:xfrm>
          <a:off x="468225" y="1983757"/>
          <a:ext cx="11233286" cy="386820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808322">
                  <a:extLst>
                    <a:ext uri="{9D8B030D-6E8A-4147-A177-3AD203B41FA5}">
                      <a16:colId xmlns:a16="http://schemas.microsoft.com/office/drawing/2014/main" xmlns="" val="270873267"/>
                    </a:ext>
                  </a:extLst>
                </a:gridCol>
                <a:gridCol w="2808321">
                  <a:extLst>
                    <a:ext uri="{9D8B030D-6E8A-4147-A177-3AD203B41FA5}">
                      <a16:colId xmlns:a16="http://schemas.microsoft.com/office/drawing/2014/main" xmlns="" val="585881974"/>
                    </a:ext>
                  </a:extLst>
                </a:gridCol>
                <a:gridCol w="2808322">
                  <a:extLst>
                    <a:ext uri="{9D8B030D-6E8A-4147-A177-3AD203B41FA5}">
                      <a16:colId xmlns:a16="http://schemas.microsoft.com/office/drawing/2014/main" xmlns="" val="4164430926"/>
                    </a:ext>
                  </a:extLst>
                </a:gridCol>
                <a:gridCol w="2808321">
                  <a:extLst>
                    <a:ext uri="{9D8B030D-6E8A-4147-A177-3AD203B41FA5}">
                      <a16:colId xmlns:a16="http://schemas.microsoft.com/office/drawing/2014/main" xmlns="" val="3826359410"/>
                    </a:ext>
                  </a:extLst>
                </a:gridCol>
              </a:tblGrid>
              <a:tr h="43636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4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</a:rPr>
                        <a:t>KOP1</a:t>
                      </a:r>
                      <a:endParaRPr kumimoji="0" lang="en-US" altLang="nl-NL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4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</a:rPr>
                        <a:t>KOP 2</a:t>
                      </a:r>
                      <a:endParaRPr kumimoji="0" lang="en-US" altLang="nl-NL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4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</a:rPr>
                        <a:t>KOP 3</a:t>
                      </a:r>
                      <a:endParaRPr kumimoji="0" lang="en-US" altLang="nl-NL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40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</a:rPr>
                        <a:t>KOP 4</a:t>
                      </a:r>
                      <a:endParaRPr kumimoji="0" lang="en-US" altLang="nl-NL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00865923"/>
                  </a:ext>
                </a:extLst>
              </a:tr>
              <a:tr h="552729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 dirty="0" err="1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Tekst</a:t>
                      </a:r>
                      <a:r>
                        <a:rPr kumimoji="0" lang="en-US" altLang="nl-NL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 1a</a:t>
                      </a:r>
                      <a:endParaRPr kumimoji="0" lang="en-US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 dirty="0" err="1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Tekst</a:t>
                      </a:r>
                      <a:r>
                        <a:rPr kumimoji="0" lang="en-US" altLang="nl-NL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 1a</a:t>
                      </a:r>
                      <a:endParaRPr kumimoji="0" lang="en-US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 dirty="0" err="1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Tekst</a:t>
                      </a:r>
                      <a:r>
                        <a:rPr kumimoji="0" lang="en-US" altLang="nl-NL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 1a</a:t>
                      </a:r>
                      <a:endParaRPr kumimoji="0" lang="en-US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 dirty="0" err="1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Tekst</a:t>
                      </a:r>
                      <a:r>
                        <a:rPr kumimoji="0" lang="en-US" altLang="nl-NL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 1a</a:t>
                      </a:r>
                      <a:endParaRPr kumimoji="0" lang="en-US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70107647"/>
                  </a:ext>
                </a:extLst>
              </a:tr>
              <a:tr h="43860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Tekst 1b</a:t>
                      </a:r>
                      <a:endParaRPr kumimoji="0" lang="en-US" altLang="nl-NL" sz="1000" b="0" i="0" u="none" strike="noStrike" cap="none" normalizeH="0" baseline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Tekst 1b</a:t>
                      </a:r>
                      <a:endParaRPr kumimoji="0" lang="en-US" altLang="nl-NL" sz="1000" b="0" i="0" u="none" strike="noStrike" cap="none" normalizeH="0" baseline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 dirty="0" err="1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Tekst</a:t>
                      </a:r>
                      <a:r>
                        <a:rPr kumimoji="0" lang="en-US" altLang="nl-NL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 1b</a:t>
                      </a:r>
                      <a:endParaRPr kumimoji="0" lang="en-US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 dirty="0" err="1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Tekst</a:t>
                      </a:r>
                      <a:r>
                        <a:rPr kumimoji="0" lang="en-US" altLang="nl-NL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 1b</a:t>
                      </a:r>
                      <a:endParaRPr kumimoji="0" lang="en-US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97281484"/>
                  </a:ext>
                </a:extLst>
              </a:tr>
              <a:tr h="43860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Tekst 1c</a:t>
                      </a:r>
                      <a:endParaRPr kumimoji="0" lang="en-US" altLang="nl-NL" sz="1000" b="0" i="0" u="none" strike="noStrike" cap="none" normalizeH="0" baseline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Tekst 1c</a:t>
                      </a:r>
                      <a:endParaRPr kumimoji="0" lang="en-US" altLang="nl-NL" sz="1000" b="0" i="0" u="none" strike="noStrike" cap="none" normalizeH="0" baseline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Tekst 1c</a:t>
                      </a:r>
                      <a:endParaRPr kumimoji="0" lang="en-US" altLang="nl-NL" sz="1000" b="0" i="0" u="none" strike="noStrike" cap="none" normalizeH="0" baseline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 dirty="0" err="1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Tekst</a:t>
                      </a:r>
                      <a:r>
                        <a:rPr kumimoji="0" lang="en-US" altLang="nl-NL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 1c</a:t>
                      </a:r>
                      <a:endParaRPr kumimoji="0" lang="en-US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07340486"/>
                  </a:ext>
                </a:extLst>
              </a:tr>
              <a:tr h="44084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Tekst 1d</a:t>
                      </a:r>
                      <a:endParaRPr kumimoji="0" lang="en-US" altLang="nl-NL" sz="1000" b="0" i="0" u="none" strike="noStrike" cap="none" normalizeH="0" baseline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Tekst 1d</a:t>
                      </a:r>
                      <a:endParaRPr kumimoji="0" lang="en-US" altLang="nl-NL" sz="1000" b="0" i="0" u="none" strike="noStrike" cap="none" normalizeH="0" baseline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Tekst 1d</a:t>
                      </a:r>
                      <a:endParaRPr kumimoji="0" lang="en-US" altLang="nl-NL" sz="1000" b="0" i="0" u="none" strike="noStrike" cap="none" normalizeH="0" baseline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 dirty="0" err="1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Tekst</a:t>
                      </a:r>
                      <a:r>
                        <a:rPr kumimoji="0" lang="en-US" altLang="nl-NL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 1d</a:t>
                      </a:r>
                      <a:endParaRPr kumimoji="0" lang="en-US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57613692"/>
                  </a:ext>
                </a:extLst>
              </a:tr>
              <a:tr h="43860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etc</a:t>
                      </a:r>
                      <a:endParaRPr kumimoji="0" lang="en-US" altLang="nl-NL" sz="1000" b="0" i="0" u="none" strike="noStrike" cap="none" normalizeH="0" baseline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etc</a:t>
                      </a:r>
                      <a:endParaRPr kumimoji="0" lang="en-US" altLang="nl-NL" sz="1000" b="0" i="0" u="none" strike="noStrike" cap="none" normalizeH="0" baseline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etc</a:t>
                      </a:r>
                      <a:endParaRPr kumimoji="0" lang="en-US" altLang="nl-NL" sz="1000" b="0" i="0" u="none" strike="noStrike" cap="none" normalizeH="0" baseline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r>
                        <a:rPr kumimoji="0" lang="en-US" altLang="nl-NL" sz="1000" u="none" strike="noStrike" cap="none" normalizeH="0" baseline="0" dirty="0" err="1">
                          <a:ln>
                            <a:noFill/>
                          </a:ln>
                          <a:solidFill>
                            <a:srgbClr val="555555"/>
                          </a:solidFill>
                          <a:effectLst/>
                        </a:rPr>
                        <a:t>Etc</a:t>
                      </a:r>
                      <a:endParaRPr kumimoji="0" lang="en-US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555555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93668996"/>
                  </a:ext>
                </a:extLst>
              </a:tr>
              <a:tr h="351331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endParaRPr kumimoji="0" lang="nl-NL" altLang="nl-NL" sz="10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endParaRPr kumimoji="0" lang="nl-NL" altLang="nl-NL" sz="10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endParaRPr kumimoji="0" lang="nl-NL" altLang="nl-NL" sz="10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endParaRPr kumimoji="0" lang="nl-NL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01924288"/>
                  </a:ext>
                </a:extLst>
              </a:tr>
              <a:tr h="343721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endParaRPr kumimoji="0" lang="nl-NL" altLang="nl-NL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endParaRPr kumimoji="0" lang="nl-NL" altLang="nl-NL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endParaRPr kumimoji="0" lang="nl-NL" altLang="nl-NL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endParaRPr kumimoji="0" lang="nl-NL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97512146"/>
                  </a:ext>
                </a:extLst>
              </a:tr>
              <a:tr h="42741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endParaRPr kumimoji="0" lang="nl-NL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endParaRPr kumimoji="0" lang="nl-NL" altLang="nl-NL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endParaRPr kumimoji="0" lang="nl-NL" altLang="nl-NL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62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0493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4684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1887538">
                        <a:spcBef>
                          <a:spcPct val="20000"/>
                        </a:spcBef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3447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8019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2591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716338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Times" pitchFamily="2" charset="0"/>
                        <a:tabLst>
                          <a:tab pos="188913" algn="l"/>
                        </a:tabLst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" pitchFamily="2" charset="0"/>
                        <a:buNone/>
                        <a:tabLst>
                          <a:tab pos="188913" algn="l"/>
                        </a:tabLst>
                      </a:pPr>
                      <a:endParaRPr kumimoji="0" lang="nl-NL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ＭＳ Ｐゴシック" panose="020B0600070205080204" pitchFamily="34" charset="-128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5555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302547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26138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kstvak 133"/>
          <p:cNvSpPr txBox="1"/>
          <p:nvPr userDrawn="1"/>
        </p:nvSpPr>
        <p:spPr>
          <a:xfrm>
            <a:off x="-85057" y="-437946"/>
            <a:ext cx="41537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0" i="0" dirty="0">
                <a:solidFill>
                  <a:schemeClr val="accent5"/>
                </a:solidFill>
                <a:latin typeface="Arial"/>
                <a:cs typeface="Arial"/>
              </a:rPr>
              <a:t>100% GRAFIEK</a:t>
            </a:r>
          </a:p>
        </p:txBody>
      </p:sp>
      <p:sp>
        <p:nvSpPr>
          <p:cNvPr id="36" name="Rectangle 2">
            <a:extLst>
              <a:ext uri="{FF2B5EF4-FFF2-40B4-BE49-F238E27FC236}">
                <a16:creationId xmlns:a16="http://schemas.microsoft.com/office/drawing/2014/main" xmlns="" id="{0AFB3100-891A-2744-BDCB-5F3AF2621FB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958" y="908721"/>
            <a:ext cx="11235553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Titelstijl van model bewerken</a:t>
            </a:r>
          </a:p>
        </p:txBody>
      </p:sp>
      <p:sp>
        <p:nvSpPr>
          <p:cNvPr id="7" name="Tijdelijke aanduiding voor voettekst 1">
            <a:extLst>
              <a:ext uri="{FF2B5EF4-FFF2-40B4-BE49-F238E27FC236}">
                <a16:creationId xmlns:a16="http://schemas.microsoft.com/office/drawing/2014/main" xmlns="" id="{189C4D4A-7F0F-214B-9109-6721AE54F2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958" y="6304235"/>
            <a:ext cx="112355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8" name="Tijdelijke aanduiding voor datum 2">
            <a:extLst>
              <a:ext uri="{FF2B5EF4-FFF2-40B4-BE49-F238E27FC236}">
                <a16:creationId xmlns:a16="http://schemas.microsoft.com/office/drawing/2014/main" xmlns="" id="{F2DD089F-1B0E-264F-85BE-C81B64E70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828920E-D799-5A4B-B4CE-1041165ECCB5}" type="datetime1">
              <a:rPr lang="nl-NL" smtClean="0"/>
              <a:t>29-4-2019</a:t>
            </a:fld>
            <a:endParaRPr lang="nl-NL" dirty="0"/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xmlns="" id="{C688AD83-FC3B-2547-B252-F969A4B4D704}"/>
              </a:ext>
            </a:extLst>
          </p:cNvPr>
          <p:cNvGrpSpPr/>
          <p:nvPr userDrawn="1"/>
        </p:nvGrpSpPr>
        <p:grpSpPr>
          <a:xfrm>
            <a:off x="12435216" y="14897"/>
            <a:ext cx="2716339" cy="6848547"/>
            <a:chOff x="12435216" y="14897"/>
            <a:chExt cx="2716339" cy="6848547"/>
          </a:xfrm>
        </p:grpSpPr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xmlns="" id="{940C99AB-4732-5C47-83B6-2465985CCF88}"/>
                </a:ext>
              </a:extLst>
            </p:cNvPr>
            <p:cNvGrpSpPr/>
            <p:nvPr userDrawn="1"/>
          </p:nvGrpSpPr>
          <p:grpSpPr>
            <a:xfrm>
              <a:off x="12435216" y="14897"/>
              <a:ext cx="2716339" cy="3676571"/>
              <a:chOff x="12435216" y="14897"/>
              <a:chExt cx="2716339" cy="3676571"/>
            </a:xfrm>
          </p:grpSpPr>
          <p:sp>
            <p:nvSpPr>
              <p:cNvPr id="53" name="Rechthoek 52">
                <a:extLst>
                  <a:ext uri="{FF2B5EF4-FFF2-40B4-BE49-F238E27FC236}">
                    <a16:creationId xmlns:a16="http://schemas.microsoft.com/office/drawing/2014/main" xmlns="" id="{B001D98F-D05A-D74F-A055-86CEBBC8088A}"/>
                  </a:ext>
                </a:extLst>
              </p:cNvPr>
              <p:cNvSpPr/>
              <p:nvPr/>
            </p:nvSpPr>
            <p:spPr>
              <a:xfrm>
                <a:off x="12441150" y="14897"/>
                <a:ext cx="2696270" cy="16177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80000"/>
                  </a:lnSpc>
                </a:pPr>
                <a:r>
                  <a:rPr lang="nl-NL" sz="1600" b="1" kern="0" cap="all" baseline="0" noProof="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Grafiek INVOEGEN</a:t>
                </a:r>
              </a:p>
            </p:txBody>
          </p:sp>
          <p:sp>
            <p:nvSpPr>
              <p:cNvPr id="54" name="Tekstvak 33">
                <a:extLst>
                  <a:ext uri="{FF2B5EF4-FFF2-40B4-BE49-F238E27FC236}">
                    <a16:creationId xmlns:a16="http://schemas.microsoft.com/office/drawing/2014/main" xmlns="" id="{C76FE85D-6A0E-DE40-B611-3C6116F34A9A}"/>
                  </a:ext>
                </a:extLst>
              </p:cNvPr>
              <p:cNvSpPr txBox="1"/>
              <p:nvPr/>
            </p:nvSpPr>
            <p:spPr>
              <a:xfrm>
                <a:off x="12441149" y="814239"/>
                <a:ext cx="2710405" cy="7198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ndien nodig, verwijder de bestaande grafiek. Klik op het pictogram om </a:t>
                </a:r>
                <a:b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en grafiek in te voegen</a:t>
                </a:r>
                <a:b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nl-NL" sz="1100" i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(zie onderstaand voorbeeld).</a:t>
                </a:r>
              </a:p>
            </p:txBody>
          </p:sp>
          <p:sp>
            <p:nvSpPr>
              <p:cNvPr id="55" name="Tekstvak 33">
                <a:extLst>
                  <a:ext uri="{FF2B5EF4-FFF2-40B4-BE49-F238E27FC236}">
                    <a16:creationId xmlns:a16="http://schemas.microsoft.com/office/drawing/2014/main" xmlns="" id="{738ABE6A-EC5F-B04D-AA4E-5EA29F636B65}"/>
                  </a:ext>
                </a:extLst>
              </p:cNvPr>
              <p:cNvSpPr txBox="1"/>
              <p:nvPr/>
            </p:nvSpPr>
            <p:spPr>
              <a:xfrm>
                <a:off x="12441149" y="2793904"/>
                <a:ext cx="2710405" cy="395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electeer de afbeelding die u wilt invoegen en klik op </a:t>
                </a:r>
                <a:r>
                  <a:rPr lang="nl-NL" sz="1200" b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Invoegen’</a:t>
                </a:r>
              </a:p>
            </p:txBody>
          </p:sp>
          <p:sp>
            <p:nvSpPr>
              <p:cNvPr id="56" name="Ovaal 55">
                <a:extLst>
                  <a:ext uri="{FF2B5EF4-FFF2-40B4-BE49-F238E27FC236}">
                    <a16:creationId xmlns:a16="http://schemas.microsoft.com/office/drawing/2014/main" xmlns="" id="{9FA69FA4-9C30-4B49-8F33-30E5595CAEDF}"/>
                  </a:ext>
                </a:extLst>
              </p:cNvPr>
              <p:cNvSpPr/>
              <p:nvPr/>
            </p:nvSpPr>
            <p:spPr>
              <a:xfrm>
                <a:off x="12441150" y="379292"/>
                <a:ext cx="327206" cy="32720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sp>
            <p:nvSpPr>
              <p:cNvPr id="57" name="Ovaal 56">
                <a:extLst>
                  <a:ext uri="{FF2B5EF4-FFF2-40B4-BE49-F238E27FC236}">
                    <a16:creationId xmlns:a16="http://schemas.microsoft.com/office/drawing/2014/main" xmlns="" id="{789D0B93-D420-184D-96B5-98C08B0B105E}"/>
                  </a:ext>
                </a:extLst>
              </p:cNvPr>
              <p:cNvSpPr/>
              <p:nvPr/>
            </p:nvSpPr>
            <p:spPr>
              <a:xfrm>
                <a:off x="12441150" y="2337208"/>
                <a:ext cx="327206" cy="32720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cxnSp>
            <p:nvCxnSpPr>
              <p:cNvPr id="58" name="Rechte verbindingslijn 57">
                <a:extLst>
                  <a:ext uri="{FF2B5EF4-FFF2-40B4-BE49-F238E27FC236}">
                    <a16:creationId xmlns:a16="http://schemas.microsoft.com/office/drawing/2014/main" xmlns="" id="{DB029BA9-0CDF-D449-A36C-94DFC21B018D}"/>
                  </a:ext>
                </a:extLst>
              </p:cNvPr>
              <p:cNvCxnSpPr/>
              <p:nvPr/>
            </p:nvCxnSpPr>
            <p:spPr>
              <a:xfrm>
                <a:off x="12441150" y="248176"/>
                <a:ext cx="271040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cxnSp>
            <p:nvCxnSpPr>
              <p:cNvPr id="59" name="Rechte verbindingslijn 58">
                <a:extLst>
                  <a:ext uri="{FF2B5EF4-FFF2-40B4-BE49-F238E27FC236}">
                    <a16:creationId xmlns:a16="http://schemas.microsoft.com/office/drawing/2014/main" xmlns="" id="{A27F9F13-AE67-6949-85B5-A8151FE5C6D2}"/>
                  </a:ext>
                </a:extLst>
              </p:cNvPr>
              <p:cNvCxnSpPr/>
              <p:nvPr/>
            </p:nvCxnSpPr>
            <p:spPr>
              <a:xfrm>
                <a:off x="12441149" y="2212830"/>
                <a:ext cx="271040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cxnSp>
            <p:nvCxnSpPr>
              <p:cNvPr id="60" name="Rechte verbindingslijn 59">
                <a:extLst>
                  <a:ext uri="{FF2B5EF4-FFF2-40B4-BE49-F238E27FC236}">
                    <a16:creationId xmlns:a16="http://schemas.microsoft.com/office/drawing/2014/main" xmlns="" id="{181F31F7-7E8B-C74B-8B09-1CC64EC21309}"/>
                  </a:ext>
                </a:extLst>
              </p:cNvPr>
              <p:cNvCxnSpPr/>
              <p:nvPr/>
            </p:nvCxnSpPr>
            <p:spPr>
              <a:xfrm>
                <a:off x="12444679" y="3691468"/>
                <a:ext cx="270687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grpSp>
            <p:nvGrpSpPr>
              <p:cNvPr id="61" name="Groep 60">
                <a:extLst>
                  <a:ext uri="{FF2B5EF4-FFF2-40B4-BE49-F238E27FC236}">
                    <a16:creationId xmlns:a16="http://schemas.microsoft.com/office/drawing/2014/main" xmlns="" id="{E867C8B6-DF1F-7645-B9E0-F7697C329E15}"/>
                  </a:ext>
                </a:extLst>
              </p:cNvPr>
              <p:cNvGrpSpPr/>
              <p:nvPr/>
            </p:nvGrpSpPr>
            <p:grpSpPr>
              <a:xfrm>
                <a:off x="12450571" y="3301369"/>
                <a:ext cx="1002992" cy="267962"/>
                <a:chOff x="13560784" y="3471416"/>
                <a:chExt cx="1114138" cy="297656"/>
              </a:xfrm>
            </p:grpSpPr>
            <p:sp>
              <p:nvSpPr>
                <p:cNvPr id="66" name="Afgeronde rechthoek 65">
                  <a:extLst>
                    <a:ext uri="{FF2B5EF4-FFF2-40B4-BE49-F238E27FC236}">
                      <a16:creationId xmlns:a16="http://schemas.microsoft.com/office/drawing/2014/main" xmlns="" id="{376511A8-2180-7B4C-9A1F-186C2E01B316}"/>
                    </a:ext>
                  </a:extLst>
                </p:cNvPr>
                <p:cNvSpPr/>
                <p:nvPr/>
              </p:nvSpPr>
              <p:spPr>
                <a:xfrm>
                  <a:off x="13560784" y="3471416"/>
                  <a:ext cx="1114138" cy="297656"/>
                </a:xfrm>
                <a:prstGeom prst="roundRect">
                  <a:avLst/>
                </a:prstGeom>
                <a:gradFill flip="none" rotWithShape="1">
                  <a:gsLst>
                    <a:gs pos="4000">
                      <a:srgbClr val="00B0F0"/>
                    </a:gs>
                    <a:gs pos="0">
                      <a:srgbClr val="0070C0"/>
                    </a:gs>
                    <a:gs pos="100000">
                      <a:srgbClr val="0070C0"/>
                    </a:gs>
                    <a:gs pos="12000">
                      <a:srgbClr val="D1EAFF"/>
                    </a:gs>
                    <a:gs pos="96000">
                      <a:srgbClr val="00B0F0"/>
                    </a:gs>
                    <a:gs pos="89000">
                      <a:srgbClr val="DDF4FF"/>
                    </a:gs>
                    <a:gs pos="43000">
                      <a:srgbClr val="D1EAFF"/>
                    </a:gs>
                    <a:gs pos="51000">
                      <a:srgbClr val="DDF4FF"/>
                    </a:gs>
                  </a:gsLst>
                  <a:lin ang="16200000" scaled="1"/>
                  <a:tileRect/>
                </a:gradFill>
                <a:ln w="63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 dirty="0">
                    <a:latin typeface="+mn-lt"/>
                  </a:endParaRPr>
                </a:p>
              </p:txBody>
            </p:sp>
            <p:sp>
              <p:nvSpPr>
                <p:cNvPr id="67" name="Tekstvak 66">
                  <a:extLst>
                    <a:ext uri="{FF2B5EF4-FFF2-40B4-BE49-F238E27FC236}">
                      <a16:creationId xmlns:a16="http://schemas.microsoft.com/office/drawing/2014/main" xmlns="" id="{F808A313-5890-D643-B665-533855B93D2C}"/>
                    </a:ext>
                  </a:extLst>
                </p:cNvPr>
                <p:cNvSpPr txBox="1"/>
                <p:nvPr/>
              </p:nvSpPr>
              <p:spPr>
                <a:xfrm>
                  <a:off x="13573594" y="3488254"/>
                  <a:ext cx="888311" cy="273506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>
                  <a:defPPr>
                    <a:defRPr lang="nl-NL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900" i="0" u="none" strike="noStrike" kern="0" cap="none" spc="0" normalizeH="0" baseline="0">
                      <a:ln>
                        <a:noFill/>
                      </a:ln>
                      <a:effectLst>
                        <a:outerShdw blurRad="25400" algn="ctr" rotWithShape="0">
                          <a:prstClr val="white"/>
                        </a:outerShdw>
                      </a:effectLst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5pPr>
                  <a:lvl6pPr>
                    <a:defRPr>
                      <a:latin typeface="Arial" charset="0"/>
                      <a:cs typeface="Arial" charset="0"/>
                    </a:defRPr>
                  </a:lvl6pPr>
                  <a:lvl7pPr>
                    <a:defRPr>
                      <a:latin typeface="Arial" charset="0"/>
                      <a:cs typeface="Arial" charset="0"/>
                    </a:defRPr>
                  </a:lvl7pPr>
                  <a:lvl8pPr>
                    <a:defRPr>
                      <a:latin typeface="Arial" charset="0"/>
                      <a:cs typeface="Arial" charset="0"/>
                    </a:defRPr>
                  </a:lvl8pPr>
                  <a:lvl9pPr>
                    <a:defRPr>
                      <a:latin typeface="Arial" charset="0"/>
                      <a:cs typeface="Arial" charset="0"/>
                    </a:defRPr>
                  </a:lvl9pPr>
                </a:lstStyle>
                <a:p>
                  <a:r>
                    <a:rPr lang="nl-NL" sz="1000" noProof="0" dirty="0">
                      <a:solidFill>
                        <a:schemeClr val="accent5"/>
                      </a:solidFill>
                      <a:latin typeface="+mn-lt"/>
                    </a:rPr>
                    <a:t>Invoegen</a:t>
                  </a:r>
                </a:p>
              </p:txBody>
            </p:sp>
            <p:cxnSp>
              <p:nvCxnSpPr>
                <p:cNvPr id="68" name="Rechte verbindingslijn 67">
                  <a:extLst>
                    <a:ext uri="{FF2B5EF4-FFF2-40B4-BE49-F238E27FC236}">
                      <a16:creationId xmlns:a16="http://schemas.microsoft.com/office/drawing/2014/main" xmlns="" id="{1296DE1E-2F01-3241-9703-AE0579F16FAC}"/>
                    </a:ext>
                  </a:extLst>
                </p:cNvPr>
                <p:cNvCxnSpPr/>
                <p:nvPr/>
              </p:nvCxnSpPr>
              <p:spPr>
                <a:xfrm>
                  <a:off x="14461905" y="3507058"/>
                  <a:ext cx="0" cy="224432"/>
                </a:xfrm>
                <a:prstGeom prst="line">
                  <a:avLst/>
                </a:prstGeom>
                <a:ln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9" name="Gelijkbenige driehoek 106">
                  <a:extLst>
                    <a:ext uri="{FF2B5EF4-FFF2-40B4-BE49-F238E27FC236}">
                      <a16:creationId xmlns:a16="http://schemas.microsoft.com/office/drawing/2014/main" xmlns="" id="{9F7901B6-E938-7342-875B-401A98238356}"/>
                    </a:ext>
                  </a:extLst>
                </p:cNvPr>
                <p:cNvSpPr/>
                <p:nvPr/>
              </p:nvSpPr>
              <p:spPr>
                <a:xfrm rot="10800000">
                  <a:off x="14518584" y="3600521"/>
                  <a:ext cx="105309" cy="57157"/>
                </a:xfrm>
                <a:prstGeom prst="triangl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noProof="0" dirty="0">
                    <a:latin typeface="+mn-lt"/>
                  </a:endParaRPr>
                </a:p>
              </p:txBody>
            </p:sp>
          </p:grpSp>
          <p:grpSp>
            <p:nvGrpSpPr>
              <p:cNvPr id="62" name="Groep 61">
                <a:extLst>
                  <a:ext uri="{FF2B5EF4-FFF2-40B4-BE49-F238E27FC236}">
                    <a16:creationId xmlns:a16="http://schemas.microsoft.com/office/drawing/2014/main" xmlns="" id="{3E711917-C805-104B-AE4C-DBDFC980FC70}"/>
                  </a:ext>
                </a:extLst>
              </p:cNvPr>
              <p:cNvGrpSpPr/>
              <p:nvPr userDrawn="1"/>
            </p:nvGrpSpPr>
            <p:grpSpPr>
              <a:xfrm>
                <a:off x="12435216" y="1678012"/>
                <a:ext cx="372535" cy="405517"/>
                <a:chOff x="12468049" y="1754144"/>
                <a:chExt cx="339072" cy="369091"/>
              </a:xfrm>
            </p:grpSpPr>
            <p:sp>
              <p:nvSpPr>
                <p:cNvPr id="63" name="Rechthoek 62">
                  <a:extLst>
                    <a:ext uri="{FF2B5EF4-FFF2-40B4-BE49-F238E27FC236}">
                      <a16:creationId xmlns:a16="http://schemas.microsoft.com/office/drawing/2014/main" xmlns="" id="{D452F94E-FDB7-1348-B96E-650658587C36}"/>
                    </a:ext>
                  </a:extLst>
                </p:cNvPr>
                <p:cNvSpPr/>
                <p:nvPr userDrawn="1"/>
              </p:nvSpPr>
              <p:spPr>
                <a:xfrm>
                  <a:off x="12468049" y="1869625"/>
                  <a:ext cx="92751" cy="253609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 dirty="0"/>
                </a:p>
              </p:txBody>
            </p:sp>
            <p:sp>
              <p:nvSpPr>
                <p:cNvPr id="64" name="Rechthoek 63">
                  <a:extLst>
                    <a:ext uri="{FF2B5EF4-FFF2-40B4-BE49-F238E27FC236}">
                      <a16:creationId xmlns:a16="http://schemas.microsoft.com/office/drawing/2014/main" xmlns="" id="{C320B61D-E97E-E046-BA34-62A2F343C3A5}"/>
                    </a:ext>
                  </a:extLst>
                </p:cNvPr>
                <p:cNvSpPr/>
                <p:nvPr userDrawn="1"/>
              </p:nvSpPr>
              <p:spPr>
                <a:xfrm>
                  <a:off x="12590223" y="1754144"/>
                  <a:ext cx="92751" cy="369091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 dirty="0"/>
                </a:p>
              </p:txBody>
            </p:sp>
            <p:sp>
              <p:nvSpPr>
                <p:cNvPr id="65" name="Rechthoek 64">
                  <a:extLst>
                    <a:ext uri="{FF2B5EF4-FFF2-40B4-BE49-F238E27FC236}">
                      <a16:creationId xmlns:a16="http://schemas.microsoft.com/office/drawing/2014/main" xmlns="" id="{E9698206-BE18-DA4B-A990-99E571D4EC31}"/>
                    </a:ext>
                  </a:extLst>
                </p:cNvPr>
                <p:cNvSpPr/>
                <p:nvPr userDrawn="1"/>
              </p:nvSpPr>
              <p:spPr>
                <a:xfrm>
                  <a:off x="12714370" y="1836322"/>
                  <a:ext cx="92751" cy="286913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 dirty="0"/>
                </a:p>
              </p:txBody>
            </p:sp>
          </p:grpSp>
        </p:grpSp>
        <p:grpSp>
          <p:nvGrpSpPr>
            <p:cNvPr id="11" name="Instructie Grafiek B">
              <a:extLst>
                <a:ext uri="{FF2B5EF4-FFF2-40B4-BE49-F238E27FC236}">
                  <a16:creationId xmlns:a16="http://schemas.microsoft.com/office/drawing/2014/main" xmlns="" id="{A91A67C1-FF9B-A947-AB38-5ADC61A1BC34}"/>
                </a:ext>
              </a:extLst>
            </p:cNvPr>
            <p:cNvGrpSpPr/>
            <p:nvPr userDrawn="1"/>
          </p:nvGrpSpPr>
          <p:grpSpPr>
            <a:xfrm>
              <a:off x="12445267" y="4957361"/>
              <a:ext cx="2704546" cy="1906083"/>
              <a:chOff x="9411254" y="4957361"/>
              <a:chExt cx="2704546" cy="1906083"/>
            </a:xfrm>
          </p:grpSpPr>
          <p:cxnSp>
            <p:nvCxnSpPr>
              <p:cNvPr id="13" name="Rechte verbindingslijn 12">
                <a:extLst>
                  <a:ext uri="{FF2B5EF4-FFF2-40B4-BE49-F238E27FC236}">
                    <a16:creationId xmlns:a16="http://schemas.microsoft.com/office/drawing/2014/main" xmlns="" id="{E13E865B-69C9-8D4B-999D-567BF7540C77}"/>
                  </a:ext>
                </a:extLst>
              </p:cNvPr>
              <p:cNvCxnSpPr/>
              <p:nvPr/>
            </p:nvCxnSpPr>
            <p:spPr>
              <a:xfrm>
                <a:off x="9411254" y="6863444"/>
                <a:ext cx="2704546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sp>
            <p:nvSpPr>
              <p:cNvPr id="14" name="Rechthoek 13">
                <a:extLst>
                  <a:ext uri="{FF2B5EF4-FFF2-40B4-BE49-F238E27FC236}">
                    <a16:creationId xmlns:a16="http://schemas.microsoft.com/office/drawing/2014/main" xmlns="" id="{5BC700EB-E67A-7647-98E4-808A8DE3CF06}"/>
                  </a:ext>
                </a:extLst>
              </p:cNvPr>
              <p:cNvSpPr/>
              <p:nvPr userDrawn="1"/>
            </p:nvSpPr>
            <p:spPr>
              <a:xfrm>
                <a:off x="9423987" y="4957361"/>
                <a:ext cx="2677678" cy="18094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80000"/>
                  </a:lnSpc>
                </a:pPr>
                <a:r>
                  <a:rPr lang="nl-NL" sz="1600" b="1" kern="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GRAFIEK</a:t>
                </a:r>
                <a:r>
                  <a:rPr lang="nl-NL" sz="1600" b="1" kern="0" baseline="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BEWERKEN</a:t>
                </a:r>
                <a:endParaRPr lang="nl-NL" sz="1600" b="1" kern="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xmlns="" id="{3DC9CEC3-0AF8-7741-B3B4-34D674543E7E}"/>
                  </a:ext>
                </a:extLst>
              </p:cNvPr>
              <p:cNvCxnSpPr/>
              <p:nvPr userDrawn="1"/>
            </p:nvCxnSpPr>
            <p:spPr>
              <a:xfrm>
                <a:off x="9428060" y="5245825"/>
                <a:ext cx="267593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sp>
            <p:nvSpPr>
              <p:cNvPr id="16" name="Tekstvak 33">
                <a:extLst>
                  <a:ext uri="{FF2B5EF4-FFF2-40B4-BE49-F238E27FC236}">
                    <a16:creationId xmlns:a16="http://schemas.microsoft.com/office/drawing/2014/main" xmlns="" id="{432CFC20-B8F8-EE41-B8D7-48CFED615106}"/>
                  </a:ext>
                </a:extLst>
              </p:cNvPr>
              <p:cNvSpPr txBox="1"/>
              <p:nvPr userDrawn="1"/>
            </p:nvSpPr>
            <p:spPr>
              <a:xfrm>
                <a:off x="9423987" y="5356960"/>
                <a:ext cx="2584447" cy="49500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electeer de grafiek, klik op de rechter muisknop en kies </a:t>
                </a:r>
                <a:r>
                  <a:rPr lang="nl-NL" sz="1200" b="1" kern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Gegevens bewerken’</a:t>
                </a:r>
              </a:p>
            </p:txBody>
          </p:sp>
          <p:grpSp>
            <p:nvGrpSpPr>
              <p:cNvPr id="17" name="Groep 16">
                <a:extLst>
                  <a:ext uri="{FF2B5EF4-FFF2-40B4-BE49-F238E27FC236}">
                    <a16:creationId xmlns:a16="http://schemas.microsoft.com/office/drawing/2014/main" xmlns="" id="{0D3997F9-55E5-4145-B343-18A1641F45FA}"/>
                  </a:ext>
                </a:extLst>
              </p:cNvPr>
              <p:cNvGrpSpPr/>
              <p:nvPr userDrawn="1"/>
            </p:nvGrpSpPr>
            <p:grpSpPr>
              <a:xfrm>
                <a:off x="9428060" y="6066494"/>
                <a:ext cx="1980859" cy="542924"/>
                <a:chOff x="12390702" y="6054428"/>
                <a:chExt cx="1980859" cy="542924"/>
              </a:xfrm>
            </p:grpSpPr>
            <p:sp>
              <p:nvSpPr>
                <p:cNvPr id="18" name="Rechthoek 17">
                  <a:extLst>
                    <a:ext uri="{FF2B5EF4-FFF2-40B4-BE49-F238E27FC236}">
                      <a16:creationId xmlns:a16="http://schemas.microsoft.com/office/drawing/2014/main" xmlns="" id="{1E2099B8-03AB-104C-A44C-48824CA333C9}"/>
                    </a:ext>
                  </a:extLst>
                </p:cNvPr>
                <p:cNvSpPr/>
                <p:nvPr/>
              </p:nvSpPr>
              <p:spPr>
                <a:xfrm>
                  <a:off x="12402284" y="6054428"/>
                  <a:ext cx="1969277" cy="542924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dirty="0"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9" name="Rechthoek 18">
                  <a:extLst>
                    <a:ext uri="{FF2B5EF4-FFF2-40B4-BE49-F238E27FC236}">
                      <a16:creationId xmlns:a16="http://schemas.microsoft.com/office/drawing/2014/main" xmlns="" id="{E09EDD8C-823F-1B49-A51C-07AC7DB9384A}"/>
                    </a:ext>
                  </a:extLst>
                </p:cNvPr>
                <p:cNvSpPr/>
                <p:nvPr/>
              </p:nvSpPr>
              <p:spPr>
                <a:xfrm>
                  <a:off x="12662053" y="6062530"/>
                  <a:ext cx="1430200" cy="261610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nl-NL" sz="1100" dirty="0">
                      <a:solidFill>
                        <a:schemeClr val="accent5"/>
                      </a:solidFill>
                      <a:ea typeface="Adobe Heiti Std R" panose="020B0400000000000000" pitchFamily="34" charset="-128"/>
                      <a:cs typeface="Segoe UI Light" panose="020B0502040204020203" pitchFamily="34" charset="0"/>
                    </a:rPr>
                    <a:t>Ander grafiektype…</a:t>
                  </a:r>
                </a:p>
              </p:txBody>
            </p:sp>
            <p:sp>
              <p:nvSpPr>
                <p:cNvPr id="20" name="Gelijkbenige driehoek 58">
                  <a:extLst>
                    <a:ext uri="{FF2B5EF4-FFF2-40B4-BE49-F238E27FC236}">
                      <a16:creationId xmlns:a16="http://schemas.microsoft.com/office/drawing/2014/main" xmlns="" id="{170F5BAB-E6AF-C04D-BAC7-0F12EFD7F22B}"/>
                    </a:ext>
                  </a:extLst>
                </p:cNvPr>
                <p:cNvSpPr/>
                <p:nvPr/>
              </p:nvSpPr>
              <p:spPr>
                <a:xfrm rot="5400000">
                  <a:off x="14210471" y="6150144"/>
                  <a:ext cx="105309" cy="57157"/>
                </a:xfrm>
                <a:prstGeom prst="triangl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dirty="0"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1" name="Afgeronde rechthoek 20">
                  <a:extLst>
                    <a:ext uri="{FF2B5EF4-FFF2-40B4-BE49-F238E27FC236}">
                      <a16:creationId xmlns:a16="http://schemas.microsoft.com/office/drawing/2014/main" xmlns="" id="{038EC6B6-78BB-1C41-81AD-7C1FF3CC8B19}"/>
                    </a:ext>
                  </a:extLst>
                </p:cNvPr>
                <p:cNvSpPr/>
                <p:nvPr/>
              </p:nvSpPr>
              <p:spPr>
                <a:xfrm>
                  <a:off x="12390702" y="6322741"/>
                  <a:ext cx="1973675" cy="268314"/>
                </a:xfrm>
                <a:prstGeom prst="roundRect">
                  <a:avLst/>
                </a:prstGeom>
                <a:gradFill>
                  <a:gsLst>
                    <a:gs pos="0">
                      <a:srgbClr val="FFF2BD"/>
                    </a:gs>
                    <a:gs pos="34000">
                      <a:srgbClr val="FFE98B"/>
                    </a:gs>
                    <a:gs pos="78000">
                      <a:srgbClr val="FFF5C9"/>
                    </a:gs>
                    <a:gs pos="59000">
                      <a:srgbClr val="FFE98B"/>
                    </a:gs>
                  </a:gsLst>
                  <a:lin ang="5400000" scaled="0"/>
                </a:gradFill>
                <a:ln w="6350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24000" rtlCol="0" anchor="ctr"/>
                <a:lstStyle/>
                <a:p>
                  <a:r>
                    <a:rPr lang="nl-NL" sz="1100" dirty="0">
                      <a:solidFill>
                        <a:schemeClr val="accent5"/>
                      </a:solidFill>
                      <a:ea typeface="Adobe Heiti Std R" panose="020B0400000000000000" pitchFamily="34" charset="-128"/>
                      <a:cs typeface="Segoe UI Light" panose="020B0502040204020203" pitchFamily="34" charset="0"/>
                    </a:rPr>
                    <a:t>Gegevens bewerken…</a:t>
                  </a:r>
                </a:p>
              </p:txBody>
            </p:sp>
            <p:grpSp>
              <p:nvGrpSpPr>
                <p:cNvPr id="22" name="Groep 21">
                  <a:extLst>
                    <a:ext uri="{FF2B5EF4-FFF2-40B4-BE49-F238E27FC236}">
                      <a16:creationId xmlns:a16="http://schemas.microsoft.com/office/drawing/2014/main" xmlns="" id="{F763FC41-75DD-2043-AA67-22F5BEF7FE0F}"/>
                    </a:ext>
                  </a:extLst>
                </p:cNvPr>
                <p:cNvGrpSpPr/>
                <p:nvPr/>
              </p:nvGrpSpPr>
              <p:grpSpPr>
                <a:xfrm>
                  <a:off x="12461788" y="6100223"/>
                  <a:ext cx="204691" cy="170000"/>
                  <a:chOff x="15171969" y="1587338"/>
                  <a:chExt cx="755407" cy="627385"/>
                </a:xfrm>
              </p:grpSpPr>
              <p:sp>
                <p:nvSpPr>
                  <p:cNvPr id="40" name="Rechthoek 962">
                    <a:extLst>
                      <a:ext uri="{FF2B5EF4-FFF2-40B4-BE49-F238E27FC236}">
                        <a16:creationId xmlns:a16="http://schemas.microsoft.com/office/drawing/2014/main" xmlns="" id="{573D632F-9507-F144-9410-C3AEA4951B5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5171969" y="2008934"/>
                    <a:ext cx="755407" cy="205789"/>
                  </a:xfrm>
                  <a:custGeom>
                    <a:avLst/>
                    <a:gdLst>
                      <a:gd name="connsiteX0" fmla="*/ 0 w 664132"/>
                      <a:gd name="connsiteY0" fmla="*/ 0 h 277787"/>
                      <a:gd name="connsiteX1" fmla="*/ 664132 w 664132"/>
                      <a:gd name="connsiteY1" fmla="*/ 0 h 277787"/>
                      <a:gd name="connsiteX2" fmla="*/ 664132 w 664132"/>
                      <a:gd name="connsiteY2" fmla="*/ 277787 h 277787"/>
                      <a:gd name="connsiteX3" fmla="*/ 0 w 664132"/>
                      <a:gd name="connsiteY3" fmla="*/ 277787 h 277787"/>
                      <a:gd name="connsiteX4" fmla="*/ 0 w 664132"/>
                      <a:gd name="connsiteY4" fmla="*/ 0 h 277787"/>
                      <a:gd name="connsiteX0" fmla="*/ 0 w 664132"/>
                      <a:gd name="connsiteY0" fmla="*/ 0 h 290487"/>
                      <a:gd name="connsiteX1" fmla="*/ 664132 w 664132"/>
                      <a:gd name="connsiteY1" fmla="*/ 0 h 290487"/>
                      <a:gd name="connsiteX2" fmla="*/ 333932 w 664132"/>
                      <a:gd name="connsiteY2" fmla="*/ 290487 h 290487"/>
                      <a:gd name="connsiteX3" fmla="*/ 0 w 664132"/>
                      <a:gd name="connsiteY3" fmla="*/ 277787 h 290487"/>
                      <a:gd name="connsiteX4" fmla="*/ 0 w 664132"/>
                      <a:gd name="connsiteY4" fmla="*/ 0 h 290487"/>
                      <a:gd name="connsiteX0" fmla="*/ 0 w 664132"/>
                      <a:gd name="connsiteY0" fmla="*/ 0 h 277787"/>
                      <a:gd name="connsiteX1" fmla="*/ 664132 w 664132"/>
                      <a:gd name="connsiteY1" fmla="*/ 0 h 277787"/>
                      <a:gd name="connsiteX2" fmla="*/ 575232 w 664132"/>
                      <a:gd name="connsiteY2" fmla="*/ 271437 h 277787"/>
                      <a:gd name="connsiteX3" fmla="*/ 0 w 664132"/>
                      <a:gd name="connsiteY3" fmla="*/ 277787 h 277787"/>
                      <a:gd name="connsiteX4" fmla="*/ 0 w 664132"/>
                      <a:gd name="connsiteY4" fmla="*/ 0 h 277787"/>
                      <a:gd name="connsiteX0" fmla="*/ 0 w 708582"/>
                      <a:gd name="connsiteY0" fmla="*/ 0 h 277787"/>
                      <a:gd name="connsiteX1" fmla="*/ 708582 w 708582"/>
                      <a:gd name="connsiteY1" fmla="*/ 31750 h 277787"/>
                      <a:gd name="connsiteX2" fmla="*/ 575232 w 708582"/>
                      <a:gd name="connsiteY2" fmla="*/ 271437 h 277787"/>
                      <a:gd name="connsiteX3" fmla="*/ 0 w 708582"/>
                      <a:gd name="connsiteY3" fmla="*/ 277787 h 277787"/>
                      <a:gd name="connsiteX4" fmla="*/ 0 w 708582"/>
                      <a:gd name="connsiteY4" fmla="*/ 0 h 277787"/>
                      <a:gd name="connsiteX0" fmla="*/ 228600 w 708582"/>
                      <a:gd name="connsiteY0" fmla="*/ 6350 h 246037"/>
                      <a:gd name="connsiteX1" fmla="*/ 708582 w 708582"/>
                      <a:gd name="connsiteY1" fmla="*/ 0 h 246037"/>
                      <a:gd name="connsiteX2" fmla="*/ 575232 w 708582"/>
                      <a:gd name="connsiteY2" fmla="*/ 239687 h 246037"/>
                      <a:gd name="connsiteX3" fmla="*/ 0 w 708582"/>
                      <a:gd name="connsiteY3" fmla="*/ 246037 h 246037"/>
                      <a:gd name="connsiteX4" fmla="*/ 228600 w 708582"/>
                      <a:gd name="connsiteY4" fmla="*/ 6350 h 246037"/>
                      <a:gd name="connsiteX0" fmla="*/ 228600 w 778432"/>
                      <a:gd name="connsiteY0" fmla="*/ 0 h 239687"/>
                      <a:gd name="connsiteX1" fmla="*/ 778432 w 778432"/>
                      <a:gd name="connsiteY1" fmla="*/ 25400 h 239687"/>
                      <a:gd name="connsiteX2" fmla="*/ 575232 w 778432"/>
                      <a:gd name="connsiteY2" fmla="*/ 233337 h 239687"/>
                      <a:gd name="connsiteX3" fmla="*/ 0 w 778432"/>
                      <a:gd name="connsiteY3" fmla="*/ 239687 h 239687"/>
                      <a:gd name="connsiteX4" fmla="*/ 228600 w 778432"/>
                      <a:gd name="connsiteY4" fmla="*/ 0 h 239687"/>
                      <a:gd name="connsiteX0" fmla="*/ 228600 w 778432"/>
                      <a:gd name="connsiteY0" fmla="*/ 0 h 214287"/>
                      <a:gd name="connsiteX1" fmla="*/ 778432 w 778432"/>
                      <a:gd name="connsiteY1" fmla="*/ 0 h 214287"/>
                      <a:gd name="connsiteX2" fmla="*/ 575232 w 778432"/>
                      <a:gd name="connsiteY2" fmla="*/ 207937 h 214287"/>
                      <a:gd name="connsiteX3" fmla="*/ 0 w 778432"/>
                      <a:gd name="connsiteY3" fmla="*/ 214287 h 214287"/>
                      <a:gd name="connsiteX4" fmla="*/ 228600 w 778432"/>
                      <a:gd name="connsiteY4" fmla="*/ 0 h 214287"/>
                      <a:gd name="connsiteX0" fmla="*/ 228600 w 730724"/>
                      <a:gd name="connsiteY0" fmla="*/ 3975 h 218262"/>
                      <a:gd name="connsiteX1" fmla="*/ 730724 w 730724"/>
                      <a:gd name="connsiteY1" fmla="*/ 0 h 218262"/>
                      <a:gd name="connsiteX2" fmla="*/ 575232 w 730724"/>
                      <a:gd name="connsiteY2" fmla="*/ 211912 h 218262"/>
                      <a:gd name="connsiteX3" fmla="*/ 0 w 730724"/>
                      <a:gd name="connsiteY3" fmla="*/ 218262 h 218262"/>
                      <a:gd name="connsiteX4" fmla="*/ 228600 w 730724"/>
                      <a:gd name="connsiteY4" fmla="*/ 3975 h 218262"/>
                      <a:gd name="connsiteX0" fmla="*/ 252454 w 754578"/>
                      <a:gd name="connsiteY0" fmla="*/ 3975 h 211912"/>
                      <a:gd name="connsiteX1" fmla="*/ 754578 w 754578"/>
                      <a:gd name="connsiteY1" fmla="*/ 0 h 211912"/>
                      <a:gd name="connsiteX2" fmla="*/ 599086 w 754578"/>
                      <a:gd name="connsiteY2" fmla="*/ 211912 h 211912"/>
                      <a:gd name="connsiteX3" fmla="*/ 0 w 754578"/>
                      <a:gd name="connsiteY3" fmla="*/ 210311 h 211912"/>
                      <a:gd name="connsiteX4" fmla="*/ 252454 w 754578"/>
                      <a:gd name="connsiteY4" fmla="*/ 3975 h 211912"/>
                      <a:gd name="connsiteX0" fmla="*/ 172941 w 754578"/>
                      <a:gd name="connsiteY0" fmla="*/ 0 h 219864"/>
                      <a:gd name="connsiteX1" fmla="*/ 754578 w 754578"/>
                      <a:gd name="connsiteY1" fmla="*/ 7952 h 219864"/>
                      <a:gd name="connsiteX2" fmla="*/ 599086 w 754578"/>
                      <a:gd name="connsiteY2" fmla="*/ 219864 h 219864"/>
                      <a:gd name="connsiteX3" fmla="*/ 0 w 754578"/>
                      <a:gd name="connsiteY3" fmla="*/ 218263 h 219864"/>
                      <a:gd name="connsiteX4" fmla="*/ 172941 w 754578"/>
                      <a:gd name="connsiteY4" fmla="*/ 0 h 219864"/>
                      <a:gd name="connsiteX0" fmla="*/ 172941 w 754578"/>
                      <a:gd name="connsiteY0" fmla="*/ 0 h 223840"/>
                      <a:gd name="connsiteX1" fmla="*/ 754578 w 754578"/>
                      <a:gd name="connsiteY1" fmla="*/ 7952 h 223840"/>
                      <a:gd name="connsiteX2" fmla="*/ 654745 w 754578"/>
                      <a:gd name="connsiteY2" fmla="*/ 223840 h 223840"/>
                      <a:gd name="connsiteX3" fmla="*/ 0 w 754578"/>
                      <a:gd name="connsiteY3" fmla="*/ 218263 h 223840"/>
                      <a:gd name="connsiteX4" fmla="*/ 172941 w 754578"/>
                      <a:gd name="connsiteY4" fmla="*/ 0 h 223840"/>
                      <a:gd name="connsiteX0" fmla="*/ 172941 w 754578"/>
                      <a:gd name="connsiteY0" fmla="*/ 0 h 219864"/>
                      <a:gd name="connsiteX1" fmla="*/ 754578 w 754578"/>
                      <a:gd name="connsiteY1" fmla="*/ 7952 h 219864"/>
                      <a:gd name="connsiteX2" fmla="*/ 646793 w 754578"/>
                      <a:gd name="connsiteY2" fmla="*/ 219864 h 219864"/>
                      <a:gd name="connsiteX3" fmla="*/ 0 w 754578"/>
                      <a:gd name="connsiteY3" fmla="*/ 218263 h 219864"/>
                      <a:gd name="connsiteX4" fmla="*/ 172941 w 754578"/>
                      <a:gd name="connsiteY4" fmla="*/ 0 h 219864"/>
                      <a:gd name="connsiteX0" fmla="*/ 172941 w 818189"/>
                      <a:gd name="connsiteY0" fmla="*/ 0 h 219864"/>
                      <a:gd name="connsiteX1" fmla="*/ 818189 w 818189"/>
                      <a:gd name="connsiteY1" fmla="*/ 31806 h 219864"/>
                      <a:gd name="connsiteX2" fmla="*/ 646793 w 818189"/>
                      <a:gd name="connsiteY2" fmla="*/ 219864 h 219864"/>
                      <a:gd name="connsiteX3" fmla="*/ 0 w 818189"/>
                      <a:gd name="connsiteY3" fmla="*/ 218263 h 219864"/>
                      <a:gd name="connsiteX4" fmla="*/ 172941 w 818189"/>
                      <a:gd name="connsiteY4" fmla="*/ 0 h 219864"/>
                      <a:gd name="connsiteX0" fmla="*/ 172941 w 806262"/>
                      <a:gd name="connsiteY0" fmla="*/ 0 h 219864"/>
                      <a:gd name="connsiteX1" fmla="*/ 806262 w 806262"/>
                      <a:gd name="connsiteY1" fmla="*/ 11928 h 219864"/>
                      <a:gd name="connsiteX2" fmla="*/ 646793 w 806262"/>
                      <a:gd name="connsiteY2" fmla="*/ 219864 h 219864"/>
                      <a:gd name="connsiteX3" fmla="*/ 0 w 806262"/>
                      <a:gd name="connsiteY3" fmla="*/ 218263 h 219864"/>
                      <a:gd name="connsiteX4" fmla="*/ 172941 w 806262"/>
                      <a:gd name="connsiteY4" fmla="*/ 0 h 219864"/>
                      <a:gd name="connsiteX0" fmla="*/ 172941 w 798310"/>
                      <a:gd name="connsiteY0" fmla="*/ 0 h 219864"/>
                      <a:gd name="connsiteX1" fmla="*/ 798310 w 798310"/>
                      <a:gd name="connsiteY1" fmla="*/ 15903 h 219864"/>
                      <a:gd name="connsiteX2" fmla="*/ 646793 w 798310"/>
                      <a:gd name="connsiteY2" fmla="*/ 219864 h 219864"/>
                      <a:gd name="connsiteX3" fmla="*/ 0 w 798310"/>
                      <a:gd name="connsiteY3" fmla="*/ 218263 h 219864"/>
                      <a:gd name="connsiteX4" fmla="*/ 172941 w 798310"/>
                      <a:gd name="connsiteY4" fmla="*/ 0 h 219864"/>
                      <a:gd name="connsiteX0" fmla="*/ 172941 w 798310"/>
                      <a:gd name="connsiteY0" fmla="*/ 0 h 259620"/>
                      <a:gd name="connsiteX1" fmla="*/ 798310 w 798310"/>
                      <a:gd name="connsiteY1" fmla="*/ 15903 h 259620"/>
                      <a:gd name="connsiteX2" fmla="*/ 614988 w 798310"/>
                      <a:gd name="connsiteY2" fmla="*/ 259620 h 259620"/>
                      <a:gd name="connsiteX3" fmla="*/ 0 w 798310"/>
                      <a:gd name="connsiteY3" fmla="*/ 218263 h 259620"/>
                      <a:gd name="connsiteX4" fmla="*/ 172941 w 798310"/>
                      <a:gd name="connsiteY4" fmla="*/ 0 h 259620"/>
                      <a:gd name="connsiteX0" fmla="*/ 188843 w 814212"/>
                      <a:gd name="connsiteY0" fmla="*/ 0 h 259620"/>
                      <a:gd name="connsiteX1" fmla="*/ 814212 w 814212"/>
                      <a:gd name="connsiteY1" fmla="*/ 15903 h 259620"/>
                      <a:gd name="connsiteX2" fmla="*/ 630890 w 814212"/>
                      <a:gd name="connsiteY2" fmla="*/ 259620 h 259620"/>
                      <a:gd name="connsiteX3" fmla="*/ 0 w 814212"/>
                      <a:gd name="connsiteY3" fmla="*/ 254043 h 259620"/>
                      <a:gd name="connsiteX4" fmla="*/ 188843 w 814212"/>
                      <a:gd name="connsiteY4" fmla="*/ 0 h 259620"/>
                      <a:gd name="connsiteX0" fmla="*/ 208721 w 834090"/>
                      <a:gd name="connsiteY0" fmla="*/ 0 h 259620"/>
                      <a:gd name="connsiteX1" fmla="*/ 834090 w 834090"/>
                      <a:gd name="connsiteY1" fmla="*/ 15903 h 259620"/>
                      <a:gd name="connsiteX2" fmla="*/ 650768 w 834090"/>
                      <a:gd name="connsiteY2" fmla="*/ 259620 h 259620"/>
                      <a:gd name="connsiteX3" fmla="*/ 0 w 834090"/>
                      <a:gd name="connsiteY3" fmla="*/ 254043 h 259620"/>
                      <a:gd name="connsiteX4" fmla="*/ 208721 w 834090"/>
                      <a:gd name="connsiteY4" fmla="*/ 0 h 259620"/>
                      <a:gd name="connsiteX0" fmla="*/ 268356 w 893725"/>
                      <a:gd name="connsiteY0" fmla="*/ 0 h 259620"/>
                      <a:gd name="connsiteX1" fmla="*/ 893725 w 893725"/>
                      <a:gd name="connsiteY1" fmla="*/ 15903 h 259620"/>
                      <a:gd name="connsiteX2" fmla="*/ 710403 w 893725"/>
                      <a:gd name="connsiteY2" fmla="*/ 259620 h 259620"/>
                      <a:gd name="connsiteX3" fmla="*/ 0 w 893725"/>
                      <a:gd name="connsiteY3" fmla="*/ 254043 h 259620"/>
                      <a:gd name="connsiteX4" fmla="*/ 268356 w 893725"/>
                      <a:gd name="connsiteY4" fmla="*/ 0 h 259620"/>
                      <a:gd name="connsiteX0" fmla="*/ 260405 w 885774"/>
                      <a:gd name="connsiteY0" fmla="*/ 0 h 259620"/>
                      <a:gd name="connsiteX1" fmla="*/ 885774 w 885774"/>
                      <a:gd name="connsiteY1" fmla="*/ 15903 h 259620"/>
                      <a:gd name="connsiteX2" fmla="*/ 702452 w 885774"/>
                      <a:gd name="connsiteY2" fmla="*/ 259620 h 259620"/>
                      <a:gd name="connsiteX3" fmla="*/ 0 w 885774"/>
                      <a:gd name="connsiteY3" fmla="*/ 254043 h 259620"/>
                      <a:gd name="connsiteX4" fmla="*/ 260405 w 885774"/>
                      <a:gd name="connsiteY4" fmla="*/ 0 h 259620"/>
                      <a:gd name="connsiteX0" fmla="*/ 220648 w 885774"/>
                      <a:gd name="connsiteY0" fmla="*/ 0 h 243717"/>
                      <a:gd name="connsiteX1" fmla="*/ 885774 w 885774"/>
                      <a:gd name="connsiteY1" fmla="*/ 0 h 243717"/>
                      <a:gd name="connsiteX2" fmla="*/ 702452 w 885774"/>
                      <a:gd name="connsiteY2" fmla="*/ 243717 h 243717"/>
                      <a:gd name="connsiteX3" fmla="*/ 0 w 885774"/>
                      <a:gd name="connsiteY3" fmla="*/ 238140 h 243717"/>
                      <a:gd name="connsiteX4" fmla="*/ 220648 w 885774"/>
                      <a:gd name="connsiteY4" fmla="*/ 0 h 2437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85774" h="243717">
                        <a:moveTo>
                          <a:pt x="220648" y="0"/>
                        </a:moveTo>
                        <a:lnTo>
                          <a:pt x="885774" y="0"/>
                        </a:lnTo>
                        <a:lnTo>
                          <a:pt x="702452" y="243717"/>
                        </a:lnTo>
                        <a:lnTo>
                          <a:pt x="0" y="238140"/>
                        </a:lnTo>
                        <a:lnTo>
                          <a:pt x="220648" y="0"/>
                        </a:lnTo>
                        <a:close/>
                      </a:path>
                    </a:pathLst>
                  </a:custGeom>
                  <a:solidFill>
                    <a:srgbClr val="FFFFFF">
                      <a:lumMod val="50000"/>
                    </a:srgbClr>
                  </a:solidFill>
                  <a:ln w="25400" cap="flat" cmpd="sng" algn="ctr">
                    <a:noFill/>
                    <a:prstDash val="solid"/>
                  </a:ln>
                  <a:effectLst>
                    <a:softEdge rad="31750"/>
                  </a:effectLst>
                </p:spPr>
                <p:txBody>
                  <a:bodyPr rtlCol="0" anchor="ctr"/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+mn-lt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grpSp>
                <p:nvGrpSpPr>
                  <p:cNvPr id="41" name="Groep 40">
                    <a:extLst>
                      <a:ext uri="{FF2B5EF4-FFF2-40B4-BE49-F238E27FC236}">
                        <a16:creationId xmlns:a16="http://schemas.microsoft.com/office/drawing/2014/main" xmlns="" id="{DCF4718E-8D48-5B46-99A4-9098EF61248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5281106" y="1587338"/>
                    <a:ext cx="511775" cy="560304"/>
                    <a:chOff x="10604642" y="969717"/>
                    <a:chExt cx="1290643" cy="1427163"/>
                  </a:xfrm>
                </p:grpSpPr>
                <p:grpSp>
                  <p:nvGrpSpPr>
                    <p:cNvPr id="42" name="Group 879">
                      <a:extLst>
                        <a:ext uri="{FF2B5EF4-FFF2-40B4-BE49-F238E27FC236}">
                          <a16:creationId xmlns:a16="http://schemas.microsoft.com/office/drawing/2014/main" xmlns="" id="{E80D1D26-06F2-7F4D-B14F-9A24F5A86BEA}"/>
                        </a:ext>
                      </a:extLst>
                    </p:cNvPr>
                    <p:cNvGrpSpPr>
                      <a:grpSpLocks noChangeAspect="1"/>
                    </p:cNvGrpSpPr>
                    <p:nvPr userDrawn="1"/>
                  </p:nvGrpSpPr>
                  <p:grpSpPr bwMode="auto">
                    <a:xfrm>
                      <a:off x="10604642" y="969717"/>
                      <a:ext cx="1290643" cy="1427163"/>
                      <a:chOff x="4798" y="1515"/>
                      <a:chExt cx="813" cy="899"/>
                    </a:xfrm>
                  </p:grpSpPr>
                  <p:sp>
                    <p:nvSpPr>
                      <p:cNvPr id="44" name="Freeform 886">
                        <a:extLst>
                          <a:ext uri="{FF2B5EF4-FFF2-40B4-BE49-F238E27FC236}">
                            <a16:creationId xmlns:a16="http://schemas.microsoft.com/office/drawing/2014/main" xmlns="" id="{7A8FD2F1-594F-1844-A5C5-21214281B46B}"/>
                          </a:ext>
                        </a:extLst>
                      </p:cNvPr>
                      <p:cNvSpPr>
                        <a:spLocks/>
                      </p:cNvSpPr>
                      <p:nvPr userDrawn="1"/>
                    </p:nvSpPr>
                    <p:spPr bwMode="auto">
                      <a:xfrm>
                        <a:off x="5269" y="1515"/>
                        <a:ext cx="71" cy="898"/>
                      </a:xfrm>
                      <a:custGeom>
                        <a:avLst/>
                        <a:gdLst>
                          <a:gd name="T0" fmla="*/ 282 w 282"/>
                          <a:gd name="T1" fmla="*/ 0 h 3595"/>
                          <a:gd name="T2" fmla="*/ 282 w 282"/>
                          <a:gd name="T3" fmla="*/ 3138 h 3595"/>
                          <a:gd name="T4" fmla="*/ 0 w 282"/>
                          <a:gd name="T5" fmla="*/ 3595 h 3595"/>
                          <a:gd name="T6" fmla="*/ 0 w 282"/>
                          <a:gd name="T7" fmla="*/ 285 h 3595"/>
                          <a:gd name="T8" fmla="*/ 282 w 282"/>
                          <a:gd name="T9" fmla="*/ 0 h 359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282" h="3595">
                            <a:moveTo>
                              <a:pt x="282" y="0"/>
                            </a:moveTo>
                            <a:lnTo>
                              <a:pt x="282" y="3138"/>
                            </a:lnTo>
                            <a:lnTo>
                              <a:pt x="0" y="3595"/>
                            </a:lnTo>
                            <a:lnTo>
                              <a:pt x="0" y="285"/>
                            </a:lnTo>
                            <a:lnTo>
                              <a:pt x="282" y="0"/>
                            </a:lnTo>
                            <a:close/>
                          </a:path>
                        </a:pathLst>
                      </a:custGeom>
                      <a:solidFill>
                        <a:srgbClr val="FFC000"/>
                      </a:solidFill>
                      <a:ln w="0">
                        <a:noFill/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sp>
                    <p:nvSpPr>
                      <p:cNvPr id="45" name="Rectangle 880">
                        <a:extLst>
                          <a:ext uri="{FF2B5EF4-FFF2-40B4-BE49-F238E27FC236}">
                            <a16:creationId xmlns:a16="http://schemas.microsoft.com/office/drawing/2014/main" xmlns="" id="{E25696D3-D7A7-F048-9B86-0C88281E4C4E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4798" y="1515"/>
                        <a:ext cx="813" cy="899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  <a:prstDash val="solid"/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sp>
                    <p:nvSpPr>
                      <p:cNvPr id="46" name="Rectangle 881">
                        <a:extLst>
                          <a:ext uri="{FF2B5EF4-FFF2-40B4-BE49-F238E27FC236}">
                            <a16:creationId xmlns:a16="http://schemas.microsoft.com/office/drawing/2014/main" xmlns="" id="{810C0950-C7A4-2E4A-9B16-E4B6F66819C0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4798" y="1857"/>
                        <a:ext cx="228" cy="55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rgbClr val="002060"/>
                          </a:gs>
                          <a:gs pos="100000">
                            <a:srgbClr val="1929FF"/>
                          </a:gs>
                        </a:gsLst>
                        <a:lin ang="16200000" scaled="1"/>
                        <a:tileRect/>
                      </a:gradFill>
                      <a:ln w="0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sp>
                    <p:nvSpPr>
                      <p:cNvPr id="47" name="Freeform 882">
                        <a:extLst>
                          <a:ext uri="{FF2B5EF4-FFF2-40B4-BE49-F238E27FC236}">
                            <a16:creationId xmlns:a16="http://schemas.microsoft.com/office/drawing/2014/main" xmlns="" id="{4C557B15-8CF6-D14F-B286-86A8866EBA44}"/>
                          </a:ext>
                        </a:extLst>
                      </p:cNvPr>
                      <p:cNvSpPr>
                        <a:spLocks/>
                      </p:cNvSpPr>
                      <p:nvPr userDrawn="1"/>
                    </p:nvSpPr>
                    <p:spPr bwMode="auto">
                      <a:xfrm>
                        <a:off x="4798" y="1771"/>
                        <a:ext cx="314" cy="86"/>
                      </a:xfrm>
                      <a:custGeom>
                        <a:avLst/>
                        <a:gdLst>
                          <a:gd name="T0" fmla="*/ 411 w 1255"/>
                          <a:gd name="T1" fmla="*/ 0 h 342"/>
                          <a:gd name="T2" fmla="*/ 1255 w 1255"/>
                          <a:gd name="T3" fmla="*/ 0 h 342"/>
                          <a:gd name="T4" fmla="*/ 913 w 1255"/>
                          <a:gd name="T5" fmla="*/ 342 h 342"/>
                          <a:gd name="T6" fmla="*/ 0 w 1255"/>
                          <a:gd name="T7" fmla="*/ 342 h 342"/>
                          <a:gd name="T8" fmla="*/ 411 w 1255"/>
                          <a:gd name="T9" fmla="*/ 0 h 34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1255" h="342">
                            <a:moveTo>
                              <a:pt x="411" y="0"/>
                            </a:moveTo>
                            <a:lnTo>
                              <a:pt x="1255" y="0"/>
                            </a:lnTo>
                            <a:lnTo>
                              <a:pt x="913" y="342"/>
                            </a:lnTo>
                            <a:lnTo>
                              <a:pt x="0" y="342"/>
                            </a:lnTo>
                            <a:lnTo>
                              <a:pt x="411" y="0"/>
                            </a:lnTo>
                            <a:close/>
                          </a:path>
                        </a:pathLst>
                      </a:custGeom>
                      <a:solidFill>
                        <a:srgbClr val="0039AC"/>
                      </a:solidFill>
                      <a:ln w="0">
                        <a:noFill/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sp>
                    <p:nvSpPr>
                      <p:cNvPr id="48" name="Freeform 883">
                        <a:extLst>
                          <a:ext uri="{FF2B5EF4-FFF2-40B4-BE49-F238E27FC236}">
                            <a16:creationId xmlns:a16="http://schemas.microsoft.com/office/drawing/2014/main" xmlns="" id="{402CBC74-7C31-5746-8355-F92712E49F84}"/>
                          </a:ext>
                        </a:extLst>
                      </p:cNvPr>
                      <p:cNvSpPr>
                        <a:spLocks/>
                      </p:cNvSpPr>
                      <p:nvPr userDrawn="1"/>
                    </p:nvSpPr>
                    <p:spPr bwMode="auto">
                      <a:xfrm>
                        <a:off x="5026" y="1771"/>
                        <a:ext cx="85" cy="642"/>
                      </a:xfrm>
                      <a:custGeom>
                        <a:avLst/>
                        <a:gdLst>
                          <a:gd name="T0" fmla="*/ 342 w 342"/>
                          <a:gd name="T1" fmla="*/ 0 h 2568"/>
                          <a:gd name="T2" fmla="*/ 342 w 342"/>
                          <a:gd name="T3" fmla="*/ 2111 h 2568"/>
                          <a:gd name="T4" fmla="*/ 0 w 342"/>
                          <a:gd name="T5" fmla="*/ 2568 h 2568"/>
                          <a:gd name="T6" fmla="*/ 0 w 342"/>
                          <a:gd name="T7" fmla="*/ 342 h 2568"/>
                          <a:gd name="T8" fmla="*/ 342 w 342"/>
                          <a:gd name="T9" fmla="*/ 0 h 256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342" h="2568">
                            <a:moveTo>
                              <a:pt x="342" y="0"/>
                            </a:moveTo>
                            <a:lnTo>
                              <a:pt x="342" y="2111"/>
                            </a:lnTo>
                            <a:lnTo>
                              <a:pt x="0" y="2568"/>
                            </a:lnTo>
                            <a:lnTo>
                              <a:pt x="0" y="342"/>
                            </a:lnTo>
                            <a:lnTo>
                              <a:pt x="342" y="0"/>
                            </a:lnTo>
                            <a:close/>
                          </a:path>
                        </a:pathLst>
                      </a:custGeom>
                      <a:solidFill>
                        <a:srgbClr val="000075"/>
                      </a:solidFill>
                      <a:ln w="0">
                        <a:noFill/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sp>
                    <p:nvSpPr>
                      <p:cNvPr id="49" name="Freeform 884">
                        <a:extLst>
                          <a:ext uri="{FF2B5EF4-FFF2-40B4-BE49-F238E27FC236}">
                            <a16:creationId xmlns:a16="http://schemas.microsoft.com/office/drawing/2014/main" xmlns="" id="{7D76B4B8-B0C0-1042-BAC6-E692023A9EDE}"/>
                          </a:ext>
                        </a:extLst>
                      </p:cNvPr>
                      <p:cNvSpPr>
                        <a:spLocks/>
                      </p:cNvSpPr>
                      <p:nvPr userDrawn="1"/>
                    </p:nvSpPr>
                    <p:spPr bwMode="auto">
                      <a:xfrm>
                        <a:off x="5054" y="1515"/>
                        <a:ext cx="286" cy="72"/>
                      </a:xfrm>
                      <a:custGeom>
                        <a:avLst/>
                        <a:gdLst>
                          <a:gd name="T0" fmla="*/ 318 w 1140"/>
                          <a:gd name="T1" fmla="*/ 0 h 289"/>
                          <a:gd name="T2" fmla="*/ 1140 w 1140"/>
                          <a:gd name="T3" fmla="*/ 0 h 289"/>
                          <a:gd name="T4" fmla="*/ 855 w 1140"/>
                          <a:gd name="T5" fmla="*/ 289 h 289"/>
                          <a:gd name="T6" fmla="*/ 0 w 1140"/>
                          <a:gd name="T7" fmla="*/ 289 h 289"/>
                          <a:gd name="T8" fmla="*/ 318 w 1140"/>
                          <a:gd name="T9" fmla="*/ 0 h 28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1140" h="289">
                            <a:moveTo>
                              <a:pt x="318" y="0"/>
                            </a:moveTo>
                            <a:lnTo>
                              <a:pt x="1140" y="0"/>
                            </a:lnTo>
                            <a:lnTo>
                              <a:pt x="855" y="289"/>
                            </a:lnTo>
                            <a:lnTo>
                              <a:pt x="0" y="289"/>
                            </a:lnTo>
                            <a:lnTo>
                              <a:pt x="318" y="0"/>
                            </a:lnTo>
                            <a:close/>
                          </a:path>
                        </a:pathLst>
                      </a:custGeom>
                      <a:solidFill>
                        <a:srgbClr val="EEFF26"/>
                      </a:solidFill>
                      <a:ln w="0">
                        <a:noFill/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sp>
                    <p:nvSpPr>
                      <p:cNvPr id="50" name="Rectangle 885">
                        <a:extLst>
                          <a:ext uri="{FF2B5EF4-FFF2-40B4-BE49-F238E27FC236}">
                            <a16:creationId xmlns:a16="http://schemas.microsoft.com/office/drawing/2014/main" xmlns="" id="{050AD02C-E65B-DA42-ADD7-87EA1A774B77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5054" y="1587"/>
                        <a:ext cx="215" cy="82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rgbClr val="FFC000"/>
                          </a:gs>
                          <a:gs pos="100000">
                            <a:srgbClr val="FFFF00"/>
                          </a:gs>
                        </a:gsLst>
                        <a:lin ang="16200000" scaled="1"/>
                        <a:tileRect/>
                      </a:gradFill>
                      <a:ln w="0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sp>
                    <p:nvSpPr>
                      <p:cNvPr id="51" name="Rectangle 887">
                        <a:extLst>
                          <a:ext uri="{FF2B5EF4-FFF2-40B4-BE49-F238E27FC236}">
                            <a16:creationId xmlns:a16="http://schemas.microsoft.com/office/drawing/2014/main" xmlns="" id="{050BFBC4-282F-684B-B76D-E850ED405459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5298" y="1771"/>
                        <a:ext cx="228" cy="643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rgbClr val="B80004"/>
                          </a:gs>
                          <a:gs pos="100000">
                            <a:srgbClr val="FF0000"/>
                          </a:gs>
                        </a:gsLst>
                        <a:lin ang="16200000" scaled="1"/>
                        <a:tileRect/>
                      </a:gradFill>
                      <a:ln w="0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sp>
                    <p:nvSpPr>
                      <p:cNvPr id="52" name="Freeform 888">
                        <a:extLst>
                          <a:ext uri="{FF2B5EF4-FFF2-40B4-BE49-F238E27FC236}">
                            <a16:creationId xmlns:a16="http://schemas.microsoft.com/office/drawing/2014/main" xmlns="" id="{A81C3361-4639-CF40-8EB7-6D2C512C09CC}"/>
                          </a:ext>
                        </a:extLst>
                      </p:cNvPr>
                      <p:cNvSpPr>
                        <a:spLocks/>
                      </p:cNvSpPr>
                      <p:nvPr userDrawn="1"/>
                    </p:nvSpPr>
                    <p:spPr bwMode="auto">
                      <a:xfrm>
                        <a:off x="5526" y="1686"/>
                        <a:ext cx="85" cy="727"/>
                      </a:xfrm>
                      <a:custGeom>
                        <a:avLst/>
                        <a:gdLst>
                          <a:gd name="T0" fmla="*/ 342 w 342"/>
                          <a:gd name="T1" fmla="*/ 0 h 2911"/>
                          <a:gd name="T2" fmla="*/ 342 w 342"/>
                          <a:gd name="T3" fmla="*/ 2477 h 2911"/>
                          <a:gd name="T4" fmla="*/ 0 w 342"/>
                          <a:gd name="T5" fmla="*/ 2911 h 2911"/>
                          <a:gd name="T6" fmla="*/ 0 w 342"/>
                          <a:gd name="T7" fmla="*/ 334 h 2911"/>
                          <a:gd name="T8" fmla="*/ 342 w 342"/>
                          <a:gd name="T9" fmla="*/ 0 h 29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342" h="2911">
                            <a:moveTo>
                              <a:pt x="342" y="0"/>
                            </a:moveTo>
                            <a:lnTo>
                              <a:pt x="342" y="2477"/>
                            </a:lnTo>
                            <a:lnTo>
                              <a:pt x="0" y="2911"/>
                            </a:lnTo>
                            <a:lnTo>
                              <a:pt x="0" y="334"/>
                            </a:lnTo>
                            <a:lnTo>
                              <a:pt x="342" y="0"/>
                            </a:lnTo>
                            <a:close/>
                          </a:path>
                        </a:pathLst>
                      </a:custGeom>
                      <a:solidFill>
                        <a:srgbClr val="C2001B"/>
                      </a:solidFill>
                      <a:ln w="0">
                        <a:noFill/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</p:grpSp>
                <p:sp>
                  <p:nvSpPr>
                    <p:cNvPr id="43" name="Vrije vorm 42">
                      <a:extLst>
                        <a:ext uri="{FF2B5EF4-FFF2-40B4-BE49-F238E27FC236}">
                          <a16:creationId xmlns:a16="http://schemas.microsoft.com/office/drawing/2014/main" xmlns="" id="{04C238F4-1281-694C-8E36-336A1233E43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1389225" y="1241176"/>
                      <a:ext cx="506025" cy="137883"/>
                    </a:xfrm>
                    <a:custGeom>
                      <a:avLst/>
                      <a:gdLst>
                        <a:gd name="connsiteX0" fmla="*/ 0 w 508407"/>
                        <a:gd name="connsiteY0" fmla="*/ 142646 h 146304"/>
                        <a:gd name="connsiteX1" fmla="*/ 369418 w 508407"/>
                        <a:gd name="connsiteY1" fmla="*/ 146304 h 146304"/>
                        <a:gd name="connsiteX2" fmla="*/ 508407 w 508407"/>
                        <a:gd name="connsiteY2" fmla="*/ 0 h 146304"/>
                        <a:gd name="connsiteX3" fmla="*/ 168250 w 508407"/>
                        <a:gd name="connsiteY3" fmla="*/ 0 h 146304"/>
                        <a:gd name="connsiteX4" fmla="*/ 0 w 508407"/>
                        <a:gd name="connsiteY4" fmla="*/ 142646 h 146304"/>
                        <a:gd name="connsiteX0" fmla="*/ 0 w 508407"/>
                        <a:gd name="connsiteY0" fmla="*/ 142646 h 142646"/>
                        <a:gd name="connsiteX1" fmla="*/ 376562 w 508407"/>
                        <a:gd name="connsiteY1" fmla="*/ 136779 h 142646"/>
                        <a:gd name="connsiteX2" fmla="*/ 508407 w 508407"/>
                        <a:gd name="connsiteY2" fmla="*/ 0 h 142646"/>
                        <a:gd name="connsiteX3" fmla="*/ 168250 w 508407"/>
                        <a:gd name="connsiteY3" fmla="*/ 0 h 142646"/>
                        <a:gd name="connsiteX4" fmla="*/ 0 w 508407"/>
                        <a:gd name="connsiteY4" fmla="*/ 142646 h 142646"/>
                        <a:gd name="connsiteX0" fmla="*/ 0 w 506025"/>
                        <a:gd name="connsiteY0" fmla="*/ 137883 h 137883"/>
                        <a:gd name="connsiteX1" fmla="*/ 374180 w 506025"/>
                        <a:gd name="connsiteY1" fmla="*/ 136779 h 137883"/>
                        <a:gd name="connsiteX2" fmla="*/ 506025 w 506025"/>
                        <a:gd name="connsiteY2" fmla="*/ 0 h 137883"/>
                        <a:gd name="connsiteX3" fmla="*/ 165868 w 506025"/>
                        <a:gd name="connsiteY3" fmla="*/ 0 h 137883"/>
                        <a:gd name="connsiteX4" fmla="*/ 0 w 506025"/>
                        <a:gd name="connsiteY4" fmla="*/ 137883 h 1378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06025" h="137883">
                          <a:moveTo>
                            <a:pt x="0" y="137883"/>
                          </a:moveTo>
                          <a:lnTo>
                            <a:pt x="374180" y="136779"/>
                          </a:lnTo>
                          <a:lnTo>
                            <a:pt x="506025" y="0"/>
                          </a:lnTo>
                          <a:lnTo>
                            <a:pt x="165868" y="0"/>
                          </a:lnTo>
                          <a:lnTo>
                            <a:pt x="0" y="137883"/>
                          </a:lnTo>
                          <a:close/>
                        </a:path>
                      </a:pathLst>
                    </a:custGeom>
                    <a:solidFill>
                      <a:srgbClr val="C00000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</p:grpSp>
            </p:grpSp>
            <p:grpSp>
              <p:nvGrpSpPr>
                <p:cNvPr id="23" name="Groep 22">
                  <a:extLst>
                    <a:ext uri="{FF2B5EF4-FFF2-40B4-BE49-F238E27FC236}">
                      <a16:creationId xmlns:a16="http://schemas.microsoft.com/office/drawing/2014/main" xmlns="" id="{38B7E457-CF54-2241-A520-083A2D1C6349}"/>
                    </a:ext>
                  </a:extLst>
                </p:cNvPr>
                <p:cNvGrpSpPr/>
                <p:nvPr/>
              </p:nvGrpSpPr>
              <p:grpSpPr>
                <a:xfrm>
                  <a:off x="12468521" y="6356844"/>
                  <a:ext cx="133446" cy="114786"/>
                  <a:chOff x="14587469" y="6356844"/>
                  <a:chExt cx="133446" cy="114786"/>
                </a:xfrm>
              </p:grpSpPr>
              <p:sp>
                <p:nvSpPr>
                  <p:cNvPr id="29" name="Rectangle 6">
                    <a:extLst>
                      <a:ext uri="{FF2B5EF4-FFF2-40B4-BE49-F238E27FC236}">
                        <a16:creationId xmlns:a16="http://schemas.microsoft.com/office/drawing/2014/main" xmlns="" id="{52D739EB-3263-2B4E-8E83-7ADF750EE96E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4588703" y="6379233"/>
                    <a:ext cx="130780" cy="91699"/>
                  </a:xfrm>
                  <a:prstGeom prst="rect">
                    <a:avLst/>
                  </a:prstGeom>
                  <a:solidFill>
                    <a:srgbClr val="F2FAFF"/>
                  </a:solidFill>
                  <a:ln w="0">
                    <a:solidFill>
                      <a:schemeClr val="bg2">
                        <a:lumMod val="50000"/>
                      </a:schemeClr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l-NL" sz="1800" dirty="0"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30" name="Rectangle 15">
                    <a:extLst>
                      <a:ext uri="{FF2B5EF4-FFF2-40B4-BE49-F238E27FC236}">
                        <a16:creationId xmlns:a16="http://schemas.microsoft.com/office/drawing/2014/main" xmlns="" id="{4BB030D3-DBBA-B94B-B068-67DB78F7B68C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4587469" y="6423761"/>
                    <a:ext cx="131076" cy="1446"/>
                  </a:xfrm>
                  <a:prstGeom prst="rect">
                    <a:avLst/>
                  </a:prstGeom>
                  <a:gradFill flip="none" rotWithShape="1">
                    <a:gsLst>
                      <a:gs pos="20000">
                        <a:srgbClr val="0039AC"/>
                      </a:gs>
                      <a:gs pos="100000">
                        <a:srgbClr val="90B6FE"/>
                      </a:gs>
                    </a:gsLst>
                    <a:lin ang="108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l-NL" sz="1800" dirty="0"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31" name="Freeform 14">
                    <a:extLst>
                      <a:ext uri="{FF2B5EF4-FFF2-40B4-BE49-F238E27FC236}">
                        <a16:creationId xmlns:a16="http://schemas.microsoft.com/office/drawing/2014/main" xmlns="" id="{DD9607DE-E2FC-D24A-982D-54C4223A4A6C}"/>
                      </a:ext>
                    </a:extLst>
                  </p:cNvPr>
                  <p:cNvSpPr>
                    <a:spLocks noEditPoints="1"/>
                  </p:cNvSpPr>
                  <p:nvPr userDrawn="1"/>
                </p:nvSpPr>
                <p:spPr bwMode="auto">
                  <a:xfrm>
                    <a:off x="14588901" y="6356844"/>
                    <a:ext cx="132014" cy="114786"/>
                  </a:xfrm>
                  <a:custGeom>
                    <a:avLst/>
                    <a:gdLst>
                      <a:gd name="T0" fmla="*/ 48 w 5347"/>
                      <a:gd name="T1" fmla="*/ 48 h 4605"/>
                      <a:gd name="T2" fmla="*/ 48 w 5347"/>
                      <a:gd name="T3" fmla="*/ 4557 h 4605"/>
                      <a:gd name="T4" fmla="*/ 5299 w 5347"/>
                      <a:gd name="T5" fmla="*/ 4557 h 4605"/>
                      <a:gd name="T6" fmla="*/ 5299 w 5347"/>
                      <a:gd name="T7" fmla="*/ 48 h 4605"/>
                      <a:gd name="T8" fmla="*/ 48 w 5347"/>
                      <a:gd name="T9" fmla="*/ 48 h 4605"/>
                      <a:gd name="T10" fmla="*/ 0 w 5347"/>
                      <a:gd name="T11" fmla="*/ 0 h 4605"/>
                      <a:gd name="T12" fmla="*/ 5347 w 5347"/>
                      <a:gd name="T13" fmla="*/ 0 h 4605"/>
                      <a:gd name="T14" fmla="*/ 5347 w 5347"/>
                      <a:gd name="T15" fmla="*/ 4605 h 4605"/>
                      <a:gd name="T16" fmla="*/ 0 w 5347"/>
                      <a:gd name="T17" fmla="*/ 4605 h 4605"/>
                      <a:gd name="T18" fmla="*/ 0 w 5347"/>
                      <a:gd name="T19" fmla="*/ 0 h 460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347" h="4605">
                        <a:moveTo>
                          <a:pt x="48" y="48"/>
                        </a:moveTo>
                        <a:lnTo>
                          <a:pt x="48" y="4557"/>
                        </a:lnTo>
                        <a:lnTo>
                          <a:pt x="5299" y="4557"/>
                        </a:lnTo>
                        <a:lnTo>
                          <a:pt x="5299" y="48"/>
                        </a:lnTo>
                        <a:lnTo>
                          <a:pt x="48" y="48"/>
                        </a:lnTo>
                        <a:close/>
                        <a:moveTo>
                          <a:pt x="0" y="0"/>
                        </a:moveTo>
                        <a:lnTo>
                          <a:pt x="5347" y="0"/>
                        </a:lnTo>
                        <a:lnTo>
                          <a:pt x="5347" y="4605"/>
                        </a:lnTo>
                        <a:lnTo>
                          <a:pt x="0" y="460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2E5D88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l-NL" sz="1800" dirty="0"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cxnSp>
                <p:nvCxnSpPr>
                  <p:cNvPr id="32" name="Rechte verbindingslijn 31">
                    <a:extLst>
                      <a:ext uri="{FF2B5EF4-FFF2-40B4-BE49-F238E27FC236}">
                        <a16:creationId xmlns:a16="http://schemas.microsoft.com/office/drawing/2014/main" xmlns="" id="{CE7D36CA-49BF-4042-AAE4-455D39AC7758}"/>
                      </a:ext>
                    </a:extLst>
                  </p:cNvPr>
                  <p:cNvCxnSpPr/>
                  <p:nvPr userDrawn="1"/>
                </p:nvCxnSpPr>
                <p:spPr>
                  <a:xfrm flipH="1">
                    <a:off x="14654334" y="6382168"/>
                    <a:ext cx="162" cy="86498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3" name="Rechte verbindingslijn 32">
                    <a:extLst>
                      <a:ext uri="{FF2B5EF4-FFF2-40B4-BE49-F238E27FC236}">
                        <a16:creationId xmlns:a16="http://schemas.microsoft.com/office/drawing/2014/main" xmlns="" id="{A9C92226-7FBF-7D4B-AB53-76BCD344439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14689188" y="6382168"/>
                    <a:ext cx="0" cy="86498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4" name="Rechte verbindingslijn 33">
                    <a:extLst>
                      <a:ext uri="{FF2B5EF4-FFF2-40B4-BE49-F238E27FC236}">
                        <a16:creationId xmlns:a16="http://schemas.microsoft.com/office/drawing/2014/main" xmlns="" id="{AF9BF101-240A-8848-822D-D8970C192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14619892" y="6382040"/>
                    <a:ext cx="0" cy="85778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5" name="Rechte verbindingslijn 34">
                    <a:extLst>
                      <a:ext uri="{FF2B5EF4-FFF2-40B4-BE49-F238E27FC236}">
                        <a16:creationId xmlns:a16="http://schemas.microsoft.com/office/drawing/2014/main" xmlns="" id="{6E6F15AC-8FC2-7B4F-82DD-55860A580CCC}"/>
                      </a:ext>
                    </a:extLst>
                  </p:cNvPr>
                  <p:cNvCxnSpPr/>
                  <p:nvPr userDrawn="1"/>
                </p:nvCxnSpPr>
                <p:spPr>
                  <a:xfrm flipH="1">
                    <a:off x="14593115" y="6400164"/>
                    <a:ext cx="121981" cy="0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" name="Rechte verbindingslijn 36">
                    <a:extLst>
                      <a:ext uri="{FF2B5EF4-FFF2-40B4-BE49-F238E27FC236}">
                        <a16:creationId xmlns:a16="http://schemas.microsoft.com/office/drawing/2014/main" xmlns="" id="{925CEF21-3392-4241-BC80-C0341C4D9BC8}"/>
                      </a:ext>
                    </a:extLst>
                  </p:cNvPr>
                  <p:cNvCxnSpPr/>
                  <p:nvPr userDrawn="1"/>
                </p:nvCxnSpPr>
                <p:spPr>
                  <a:xfrm flipH="1">
                    <a:off x="14593115" y="6423860"/>
                    <a:ext cx="121981" cy="0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8" name="Rechte verbindingslijn 37">
                    <a:extLst>
                      <a:ext uri="{FF2B5EF4-FFF2-40B4-BE49-F238E27FC236}">
                        <a16:creationId xmlns:a16="http://schemas.microsoft.com/office/drawing/2014/main" xmlns="" id="{B7F921CF-51FA-E240-8CA7-874CA3492EE8}"/>
                      </a:ext>
                    </a:extLst>
                  </p:cNvPr>
                  <p:cNvCxnSpPr/>
                  <p:nvPr userDrawn="1"/>
                </p:nvCxnSpPr>
                <p:spPr>
                  <a:xfrm flipH="1">
                    <a:off x="14593115" y="6447556"/>
                    <a:ext cx="121981" cy="0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39" name="Rectangle 13">
                    <a:extLst>
                      <a:ext uri="{FF2B5EF4-FFF2-40B4-BE49-F238E27FC236}">
                        <a16:creationId xmlns:a16="http://schemas.microsoft.com/office/drawing/2014/main" xmlns="" id="{52E8AC02-7F1F-1248-B6EC-6C37A7E6BDA8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4590283" y="6359138"/>
                    <a:ext cx="128657" cy="1934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1929FF"/>
                      </a:gs>
                      <a:gs pos="100000">
                        <a:srgbClr val="90B6FE"/>
                      </a:gs>
                    </a:gsLst>
                    <a:lin ang="108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l-NL" sz="1800" dirty="0"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  <p:grpSp>
              <p:nvGrpSpPr>
                <p:cNvPr id="24" name="Groep 23">
                  <a:extLst>
                    <a:ext uri="{FF2B5EF4-FFF2-40B4-BE49-F238E27FC236}">
                      <a16:creationId xmlns:a16="http://schemas.microsoft.com/office/drawing/2014/main" xmlns="" id="{CD2EA610-99E1-2B43-9BB4-D4595E0D9EC7}"/>
                    </a:ext>
                  </a:extLst>
                </p:cNvPr>
                <p:cNvGrpSpPr/>
                <p:nvPr/>
              </p:nvGrpSpPr>
              <p:grpSpPr>
                <a:xfrm>
                  <a:off x="12529899" y="6421402"/>
                  <a:ext cx="97399" cy="97399"/>
                  <a:chOff x="14546483" y="5323041"/>
                  <a:chExt cx="242460" cy="242460"/>
                </a:xfrm>
              </p:grpSpPr>
              <p:sp>
                <p:nvSpPr>
                  <p:cNvPr id="25" name="Rechthoek 24">
                    <a:extLst>
                      <a:ext uri="{FF2B5EF4-FFF2-40B4-BE49-F238E27FC236}">
                        <a16:creationId xmlns:a16="http://schemas.microsoft.com/office/drawing/2014/main" xmlns="" id="{A9F47144-9A8A-7543-BCA8-6863F94928F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4546483" y="5323041"/>
                    <a:ext cx="242460" cy="242460"/>
                  </a:xfrm>
                  <a:prstGeom prst="rect">
                    <a:avLst/>
                  </a:prstGeom>
                  <a:solidFill>
                    <a:schemeClr val="bg1"/>
                  </a:solidFill>
                  <a:ln w="6350">
                    <a:solidFill>
                      <a:srgbClr val="00A4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dirty="0"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grpSp>
                <p:nvGrpSpPr>
                  <p:cNvPr id="26" name="Groep 25">
                    <a:extLst>
                      <a:ext uri="{FF2B5EF4-FFF2-40B4-BE49-F238E27FC236}">
                        <a16:creationId xmlns:a16="http://schemas.microsoft.com/office/drawing/2014/main" xmlns="" id="{DE5A2700-DE71-4F48-B067-35FE324D5048}"/>
                      </a:ext>
                    </a:extLst>
                  </p:cNvPr>
                  <p:cNvGrpSpPr/>
                  <p:nvPr/>
                </p:nvGrpSpPr>
                <p:grpSpPr>
                  <a:xfrm>
                    <a:off x="14568035" y="5357818"/>
                    <a:ext cx="199836" cy="175226"/>
                    <a:chOff x="14559757" y="5349611"/>
                    <a:chExt cx="216392" cy="191641"/>
                  </a:xfrm>
                </p:grpSpPr>
                <p:sp>
                  <p:nvSpPr>
                    <p:cNvPr id="27" name="Parallellogram 26">
                      <a:extLst>
                        <a:ext uri="{FF2B5EF4-FFF2-40B4-BE49-F238E27FC236}">
                          <a16:creationId xmlns:a16="http://schemas.microsoft.com/office/drawing/2014/main" xmlns="" id="{1BEF17FE-8268-9C45-882C-45D544BCEED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59757" y="5369222"/>
                      <a:ext cx="214316" cy="147762"/>
                    </a:xfrm>
                    <a:prstGeom prst="parallelogram">
                      <a:avLst>
                        <a:gd name="adj" fmla="val 93909"/>
                      </a:avLst>
                    </a:prstGeom>
                    <a:solidFill>
                      <a:srgbClr val="00A40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dirty="0"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28" name="Parallellogram 27">
                      <a:extLst>
                        <a:ext uri="{FF2B5EF4-FFF2-40B4-BE49-F238E27FC236}">
                          <a16:creationId xmlns:a16="http://schemas.microsoft.com/office/drawing/2014/main" xmlns="" id="{F9880D52-F4BB-8440-81E6-673A1891505D}"/>
                        </a:ext>
                      </a:extLst>
                    </p:cNvPr>
                    <p:cNvSpPr/>
                    <p:nvPr/>
                  </p:nvSpPr>
                  <p:spPr>
                    <a:xfrm flipH="1">
                      <a:off x="14561833" y="5349611"/>
                      <a:ext cx="214316" cy="191641"/>
                    </a:xfrm>
                    <a:prstGeom prst="parallelogram">
                      <a:avLst>
                        <a:gd name="adj" fmla="val 68946"/>
                      </a:avLst>
                    </a:prstGeom>
                    <a:solidFill>
                      <a:srgbClr val="00A40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dirty="0"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</p:grpSp>
            </p:grpSp>
          </p:grpSp>
        </p:grpSp>
      </p:grpSp>
      <p:graphicFrame>
        <p:nvGraphicFramePr>
          <p:cNvPr id="71" name="Object 5">
            <a:extLst>
              <a:ext uri="{FF2B5EF4-FFF2-40B4-BE49-F238E27FC236}">
                <a16:creationId xmlns:a16="http://schemas.microsoft.com/office/drawing/2014/main" xmlns="" id="{920BFCFF-D86F-724A-BF0D-266F68E649DE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154718639"/>
              </p:ext>
            </p:extLst>
          </p:nvPr>
        </p:nvGraphicFramePr>
        <p:xfrm>
          <a:off x="465958" y="1958212"/>
          <a:ext cx="11235553" cy="39910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46036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1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71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71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71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71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1" grpId="0">
        <p:bldSub>
          <a:bldChart bld="series"/>
        </p:bldSub>
      </p:bldGraphic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kstvak 133"/>
          <p:cNvSpPr txBox="1"/>
          <p:nvPr userDrawn="1"/>
        </p:nvSpPr>
        <p:spPr>
          <a:xfrm>
            <a:off x="-85057" y="-437946"/>
            <a:ext cx="41537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0" i="0" dirty="0">
                <a:solidFill>
                  <a:schemeClr val="accent5"/>
                </a:solidFill>
                <a:latin typeface="Arial"/>
                <a:cs typeface="Arial"/>
              </a:rPr>
              <a:t>100% GRAFIEK</a:t>
            </a:r>
          </a:p>
        </p:txBody>
      </p:sp>
      <p:sp>
        <p:nvSpPr>
          <p:cNvPr id="36" name="Rectangle 2">
            <a:extLst>
              <a:ext uri="{FF2B5EF4-FFF2-40B4-BE49-F238E27FC236}">
                <a16:creationId xmlns:a16="http://schemas.microsoft.com/office/drawing/2014/main" xmlns="" id="{0AFB3100-891A-2744-BDCB-5F3AF2621FB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958" y="908721"/>
            <a:ext cx="11235553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Titelstijl van model bewerken</a:t>
            </a:r>
          </a:p>
        </p:txBody>
      </p:sp>
      <p:sp>
        <p:nvSpPr>
          <p:cNvPr id="7" name="Tijdelijke aanduiding voor voettekst 1">
            <a:extLst>
              <a:ext uri="{FF2B5EF4-FFF2-40B4-BE49-F238E27FC236}">
                <a16:creationId xmlns:a16="http://schemas.microsoft.com/office/drawing/2014/main" xmlns="" id="{189C4D4A-7F0F-214B-9109-6721AE54F2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958" y="6304235"/>
            <a:ext cx="112355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l-NL" dirty="0"/>
              <a:t>Energieopslag, het kan fout gaan</a:t>
            </a:r>
          </a:p>
        </p:txBody>
      </p:sp>
      <p:sp>
        <p:nvSpPr>
          <p:cNvPr id="8" name="Tijdelijke aanduiding voor datum 2">
            <a:extLst>
              <a:ext uri="{FF2B5EF4-FFF2-40B4-BE49-F238E27FC236}">
                <a16:creationId xmlns:a16="http://schemas.microsoft.com/office/drawing/2014/main" xmlns="" id="{F2DD089F-1B0E-264F-85BE-C81B64E70D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F6632AE-8078-2541-95F2-69ABDAA3040F}" type="datetime1">
              <a:rPr lang="nl-NL" smtClean="0"/>
              <a:t>29-4-2019</a:t>
            </a:fld>
            <a:endParaRPr lang="nl-NL" dirty="0"/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xmlns="" id="{C688AD83-FC3B-2547-B252-F969A4B4D704}"/>
              </a:ext>
            </a:extLst>
          </p:cNvPr>
          <p:cNvGrpSpPr/>
          <p:nvPr userDrawn="1"/>
        </p:nvGrpSpPr>
        <p:grpSpPr>
          <a:xfrm>
            <a:off x="12435216" y="14897"/>
            <a:ext cx="2716339" cy="6848547"/>
            <a:chOff x="12435216" y="14897"/>
            <a:chExt cx="2716339" cy="6848547"/>
          </a:xfrm>
        </p:grpSpPr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xmlns="" id="{940C99AB-4732-5C47-83B6-2465985CCF88}"/>
                </a:ext>
              </a:extLst>
            </p:cNvPr>
            <p:cNvGrpSpPr/>
            <p:nvPr userDrawn="1"/>
          </p:nvGrpSpPr>
          <p:grpSpPr>
            <a:xfrm>
              <a:off x="12435216" y="14897"/>
              <a:ext cx="2716339" cy="3676571"/>
              <a:chOff x="12435216" y="14897"/>
              <a:chExt cx="2716339" cy="3676571"/>
            </a:xfrm>
          </p:grpSpPr>
          <p:sp>
            <p:nvSpPr>
              <p:cNvPr id="53" name="Rechthoek 52">
                <a:extLst>
                  <a:ext uri="{FF2B5EF4-FFF2-40B4-BE49-F238E27FC236}">
                    <a16:creationId xmlns:a16="http://schemas.microsoft.com/office/drawing/2014/main" xmlns="" id="{B001D98F-D05A-D74F-A055-86CEBBC8088A}"/>
                  </a:ext>
                </a:extLst>
              </p:cNvPr>
              <p:cNvSpPr/>
              <p:nvPr/>
            </p:nvSpPr>
            <p:spPr>
              <a:xfrm>
                <a:off x="12441150" y="14897"/>
                <a:ext cx="2696270" cy="16177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80000"/>
                  </a:lnSpc>
                </a:pPr>
                <a:r>
                  <a:rPr lang="nl-NL" sz="1600" b="1" kern="0" cap="all" baseline="0" noProof="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Grafiek INVOEGEN</a:t>
                </a:r>
              </a:p>
            </p:txBody>
          </p:sp>
          <p:sp>
            <p:nvSpPr>
              <p:cNvPr id="54" name="Tekstvak 33">
                <a:extLst>
                  <a:ext uri="{FF2B5EF4-FFF2-40B4-BE49-F238E27FC236}">
                    <a16:creationId xmlns:a16="http://schemas.microsoft.com/office/drawing/2014/main" xmlns="" id="{C76FE85D-6A0E-DE40-B611-3C6116F34A9A}"/>
                  </a:ext>
                </a:extLst>
              </p:cNvPr>
              <p:cNvSpPr txBox="1"/>
              <p:nvPr/>
            </p:nvSpPr>
            <p:spPr>
              <a:xfrm>
                <a:off x="12441149" y="814239"/>
                <a:ext cx="2710405" cy="7198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Indien nodig, verwijder de bestaande grafiek. Klik op het pictogram om </a:t>
                </a:r>
                <a:b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een grafiek in te voegen</a:t>
                </a:r>
                <a:b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</a:br>
                <a:r>
                  <a:rPr lang="nl-NL" sz="1100" i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(zie onderstaand voorbeeld).</a:t>
                </a:r>
              </a:p>
            </p:txBody>
          </p:sp>
          <p:sp>
            <p:nvSpPr>
              <p:cNvPr id="55" name="Tekstvak 33">
                <a:extLst>
                  <a:ext uri="{FF2B5EF4-FFF2-40B4-BE49-F238E27FC236}">
                    <a16:creationId xmlns:a16="http://schemas.microsoft.com/office/drawing/2014/main" xmlns="" id="{738ABE6A-EC5F-B04D-AA4E-5EA29F636B65}"/>
                  </a:ext>
                </a:extLst>
              </p:cNvPr>
              <p:cNvSpPr txBox="1"/>
              <p:nvPr/>
            </p:nvSpPr>
            <p:spPr>
              <a:xfrm>
                <a:off x="12441149" y="2793904"/>
                <a:ext cx="2710405" cy="39594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electeer de afbeelding die u wilt invoegen en klik op </a:t>
                </a:r>
                <a:r>
                  <a:rPr lang="nl-NL" sz="1200" b="1" kern="0" noProof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Invoegen’</a:t>
                </a:r>
              </a:p>
            </p:txBody>
          </p:sp>
          <p:sp>
            <p:nvSpPr>
              <p:cNvPr id="56" name="Ovaal 55">
                <a:extLst>
                  <a:ext uri="{FF2B5EF4-FFF2-40B4-BE49-F238E27FC236}">
                    <a16:creationId xmlns:a16="http://schemas.microsoft.com/office/drawing/2014/main" xmlns="" id="{9FA69FA4-9C30-4B49-8F33-30E5595CAEDF}"/>
                  </a:ext>
                </a:extLst>
              </p:cNvPr>
              <p:cNvSpPr/>
              <p:nvPr/>
            </p:nvSpPr>
            <p:spPr>
              <a:xfrm>
                <a:off x="12441150" y="379292"/>
                <a:ext cx="327206" cy="32720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sp>
            <p:nvSpPr>
              <p:cNvPr id="57" name="Ovaal 56">
                <a:extLst>
                  <a:ext uri="{FF2B5EF4-FFF2-40B4-BE49-F238E27FC236}">
                    <a16:creationId xmlns:a16="http://schemas.microsoft.com/office/drawing/2014/main" xmlns="" id="{789D0B93-D420-184D-96B5-98C08B0B105E}"/>
                  </a:ext>
                </a:extLst>
              </p:cNvPr>
              <p:cNvSpPr/>
              <p:nvPr/>
            </p:nvSpPr>
            <p:spPr>
              <a:xfrm>
                <a:off x="12441150" y="2337208"/>
                <a:ext cx="327206" cy="327206"/>
              </a:xfrm>
              <a:prstGeom prst="ellipse">
                <a:avLst/>
              </a:prstGeom>
              <a:solidFill>
                <a:schemeClr val="accent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36000" rIns="0" bIns="43200" rtlCol="0" anchor="ctr"/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NL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cxnSp>
            <p:nvCxnSpPr>
              <p:cNvPr id="58" name="Rechte verbindingslijn 57">
                <a:extLst>
                  <a:ext uri="{FF2B5EF4-FFF2-40B4-BE49-F238E27FC236}">
                    <a16:creationId xmlns:a16="http://schemas.microsoft.com/office/drawing/2014/main" xmlns="" id="{DB029BA9-0CDF-D449-A36C-94DFC21B018D}"/>
                  </a:ext>
                </a:extLst>
              </p:cNvPr>
              <p:cNvCxnSpPr/>
              <p:nvPr/>
            </p:nvCxnSpPr>
            <p:spPr>
              <a:xfrm>
                <a:off x="12441150" y="248176"/>
                <a:ext cx="271040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cxnSp>
            <p:nvCxnSpPr>
              <p:cNvPr id="59" name="Rechte verbindingslijn 58">
                <a:extLst>
                  <a:ext uri="{FF2B5EF4-FFF2-40B4-BE49-F238E27FC236}">
                    <a16:creationId xmlns:a16="http://schemas.microsoft.com/office/drawing/2014/main" xmlns="" id="{A27F9F13-AE67-6949-85B5-A8151FE5C6D2}"/>
                  </a:ext>
                </a:extLst>
              </p:cNvPr>
              <p:cNvCxnSpPr/>
              <p:nvPr/>
            </p:nvCxnSpPr>
            <p:spPr>
              <a:xfrm>
                <a:off x="12441149" y="2212830"/>
                <a:ext cx="271040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cxnSp>
            <p:nvCxnSpPr>
              <p:cNvPr id="60" name="Rechte verbindingslijn 59">
                <a:extLst>
                  <a:ext uri="{FF2B5EF4-FFF2-40B4-BE49-F238E27FC236}">
                    <a16:creationId xmlns:a16="http://schemas.microsoft.com/office/drawing/2014/main" xmlns="" id="{181F31F7-7E8B-C74B-8B09-1CC64EC21309}"/>
                  </a:ext>
                </a:extLst>
              </p:cNvPr>
              <p:cNvCxnSpPr/>
              <p:nvPr/>
            </p:nvCxnSpPr>
            <p:spPr>
              <a:xfrm>
                <a:off x="12444679" y="3691468"/>
                <a:ext cx="270687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grpSp>
            <p:nvGrpSpPr>
              <p:cNvPr id="61" name="Groep 60">
                <a:extLst>
                  <a:ext uri="{FF2B5EF4-FFF2-40B4-BE49-F238E27FC236}">
                    <a16:creationId xmlns:a16="http://schemas.microsoft.com/office/drawing/2014/main" xmlns="" id="{E867C8B6-DF1F-7645-B9E0-F7697C329E15}"/>
                  </a:ext>
                </a:extLst>
              </p:cNvPr>
              <p:cNvGrpSpPr/>
              <p:nvPr/>
            </p:nvGrpSpPr>
            <p:grpSpPr>
              <a:xfrm>
                <a:off x="12450571" y="3301369"/>
                <a:ext cx="1002992" cy="267962"/>
                <a:chOff x="13560784" y="3471416"/>
                <a:chExt cx="1114138" cy="297656"/>
              </a:xfrm>
            </p:grpSpPr>
            <p:sp>
              <p:nvSpPr>
                <p:cNvPr id="66" name="Afgeronde rechthoek 65">
                  <a:extLst>
                    <a:ext uri="{FF2B5EF4-FFF2-40B4-BE49-F238E27FC236}">
                      <a16:creationId xmlns:a16="http://schemas.microsoft.com/office/drawing/2014/main" xmlns="" id="{376511A8-2180-7B4C-9A1F-186C2E01B316}"/>
                    </a:ext>
                  </a:extLst>
                </p:cNvPr>
                <p:cNvSpPr/>
                <p:nvPr/>
              </p:nvSpPr>
              <p:spPr>
                <a:xfrm>
                  <a:off x="13560784" y="3471416"/>
                  <a:ext cx="1114138" cy="297656"/>
                </a:xfrm>
                <a:prstGeom prst="roundRect">
                  <a:avLst/>
                </a:prstGeom>
                <a:gradFill flip="none" rotWithShape="1">
                  <a:gsLst>
                    <a:gs pos="4000">
                      <a:srgbClr val="00B0F0"/>
                    </a:gs>
                    <a:gs pos="0">
                      <a:srgbClr val="0070C0"/>
                    </a:gs>
                    <a:gs pos="100000">
                      <a:srgbClr val="0070C0"/>
                    </a:gs>
                    <a:gs pos="12000">
                      <a:srgbClr val="D1EAFF"/>
                    </a:gs>
                    <a:gs pos="96000">
                      <a:srgbClr val="00B0F0"/>
                    </a:gs>
                    <a:gs pos="89000">
                      <a:srgbClr val="DDF4FF"/>
                    </a:gs>
                    <a:gs pos="43000">
                      <a:srgbClr val="D1EAFF"/>
                    </a:gs>
                    <a:gs pos="51000">
                      <a:srgbClr val="DDF4FF"/>
                    </a:gs>
                  </a:gsLst>
                  <a:lin ang="16200000" scaled="1"/>
                  <a:tileRect/>
                </a:gradFill>
                <a:ln w="6350">
                  <a:solidFill>
                    <a:schemeClr val="bg2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 dirty="0">
                    <a:latin typeface="+mn-lt"/>
                  </a:endParaRPr>
                </a:p>
              </p:txBody>
            </p:sp>
            <p:sp>
              <p:nvSpPr>
                <p:cNvPr id="67" name="Tekstvak 66">
                  <a:extLst>
                    <a:ext uri="{FF2B5EF4-FFF2-40B4-BE49-F238E27FC236}">
                      <a16:creationId xmlns:a16="http://schemas.microsoft.com/office/drawing/2014/main" xmlns="" id="{F808A313-5890-D643-B665-533855B93D2C}"/>
                    </a:ext>
                  </a:extLst>
                </p:cNvPr>
                <p:cNvSpPr txBox="1"/>
                <p:nvPr/>
              </p:nvSpPr>
              <p:spPr>
                <a:xfrm>
                  <a:off x="13573594" y="3488254"/>
                  <a:ext cx="888311" cy="273506"/>
                </a:xfrm>
                <a:prstGeom prst="rect">
                  <a:avLst/>
                </a:prstGeom>
                <a:noFill/>
              </p:spPr>
              <p:txBody>
                <a:bodyPr wrap="square" rtlCol="0" anchor="ctr">
                  <a:spAutoFit/>
                </a:bodyPr>
                <a:lstStyle>
                  <a:defPPr>
                    <a:defRPr lang="nl-NL"/>
                  </a:defPPr>
                  <a:lvl1pPr marR="0" lvl="0" indent="0" algn="ctr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900" i="0" u="none" strike="noStrike" kern="0" cap="none" spc="0" normalizeH="0" baseline="0">
                      <a:ln>
                        <a:noFill/>
                      </a:ln>
                      <a:effectLst>
                        <a:outerShdw blurRad="25400" algn="ctr" rotWithShape="0">
                          <a:prstClr val="white"/>
                        </a:outerShdw>
                      </a:effectLst>
                      <a:uLnTx/>
                      <a:uFillTx/>
                      <a:latin typeface="Segoe UI Light" panose="020B0502040204020203" pitchFamily="34" charset="0"/>
                      <a:cs typeface="Segoe UI Light" panose="020B0502040204020203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latin typeface="Arial" charset="0"/>
                      <a:cs typeface="Arial" charset="0"/>
                    </a:defRPr>
                  </a:lvl5pPr>
                  <a:lvl6pPr>
                    <a:defRPr>
                      <a:latin typeface="Arial" charset="0"/>
                      <a:cs typeface="Arial" charset="0"/>
                    </a:defRPr>
                  </a:lvl6pPr>
                  <a:lvl7pPr>
                    <a:defRPr>
                      <a:latin typeface="Arial" charset="0"/>
                      <a:cs typeface="Arial" charset="0"/>
                    </a:defRPr>
                  </a:lvl7pPr>
                  <a:lvl8pPr>
                    <a:defRPr>
                      <a:latin typeface="Arial" charset="0"/>
                      <a:cs typeface="Arial" charset="0"/>
                    </a:defRPr>
                  </a:lvl8pPr>
                  <a:lvl9pPr>
                    <a:defRPr>
                      <a:latin typeface="Arial" charset="0"/>
                      <a:cs typeface="Arial" charset="0"/>
                    </a:defRPr>
                  </a:lvl9pPr>
                </a:lstStyle>
                <a:p>
                  <a:r>
                    <a:rPr lang="nl-NL" sz="1000" noProof="0" dirty="0">
                      <a:solidFill>
                        <a:schemeClr val="accent5"/>
                      </a:solidFill>
                      <a:latin typeface="+mn-lt"/>
                    </a:rPr>
                    <a:t>Invoegen</a:t>
                  </a:r>
                </a:p>
              </p:txBody>
            </p:sp>
            <p:cxnSp>
              <p:nvCxnSpPr>
                <p:cNvPr id="68" name="Rechte verbindingslijn 67">
                  <a:extLst>
                    <a:ext uri="{FF2B5EF4-FFF2-40B4-BE49-F238E27FC236}">
                      <a16:creationId xmlns:a16="http://schemas.microsoft.com/office/drawing/2014/main" xmlns="" id="{1296DE1E-2F01-3241-9703-AE0579F16FAC}"/>
                    </a:ext>
                  </a:extLst>
                </p:cNvPr>
                <p:cNvCxnSpPr/>
                <p:nvPr/>
              </p:nvCxnSpPr>
              <p:spPr>
                <a:xfrm>
                  <a:off x="14461905" y="3507058"/>
                  <a:ext cx="0" cy="224432"/>
                </a:xfrm>
                <a:prstGeom prst="line">
                  <a:avLst/>
                </a:prstGeom>
                <a:ln>
                  <a:solidFill>
                    <a:schemeClr val="accent5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9" name="Gelijkbenige driehoek 106">
                  <a:extLst>
                    <a:ext uri="{FF2B5EF4-FFF2-40B4-BE49-F238E27FC236}">
                      <a16:creationId xmlns:a16="http://schemas.microsoft.com/office/drawing/2014/main" xmlns="" id="{9F7901B6-E938-7342-875B-401A98238356}"/>
                    </a:ext>
                  </a:extLst>
                </p:cNvPr>
                <p:cNvSpPr/>
                <p:nvPr/>
              </p:nvSpPr>
              <p:spPr>
                <a:xfrm rot="10800000">
                  <a:off x="14518584" y="3600521"/>
                  <a:ext cx="105309" cy="57157"/>
                </a:xfrm>
                <a:prstGeom prst="triangl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noProof="0" dirty="0">
                    <a:latin typeface="+mn-lt"/>
                  </a:endParaRPr>
                </a:p>
              </p:txBody>
            </p:sp>
          </p:grpSp>
          <p:grpSp>
            <p:nvGrpSpPr>
              <p:cNvPr id="62" name="Groep 61">
                <a:extLst>
                  <a:ext uri="{FF2B5EF4-FFF2-40B4-BE49-F238E27FC236}">
                    <a16:creationId xmlns:a16="http://schemas.microsoft.com/office/drawing/2014/main" xmlns="" id="{3E711917-C805-104B-AE4C-DBDFC980FC70}"/>
                  </a:ext>
                </a:extLst>
              </p:cNvPr>
              <p:cNvGrpSpPr/>
              <p:nvPr userDrawn="1"/>
            </p:nvGrpSpPr>
            <p:grpSpPr>
              <a:xfrm>
                <a:off x="12435216" y="1678012"/>
                <a:ext cx="372535" cy="405517"/>
                <a:chOff x="12468049" y="1754144"/>
                <a:chExt cx="339072" cy="369091"/>
              </a:xfrm>
            </p:grpSpPr>
            <p:sp>
              <p:nvSpPr>
                <p:cNvPr id="63" name="Rechthoek 62">
                  <a:extLst>
                    <a:ext uri="{FF2B5EF4-FFF2-40B4-BE49-F238E27FC236}">
                      <a16:creationId xmlns:a16="http://schemas.microsoft.com/office/drawing/2014/main" xmlns="" id="{D452F94E-FDB7-1348-B96E-650658587C36}"/>
                    </a:ext>
                  </a:extLst>
                </p:cNvPr>
                <p:cNvSpPr/>
                <p:nvPr userDrawn="1"/>
              </p:nvSpPr>
              <p:spPr>
                <a:xfrm>
                  <a:off x="12468049" y="1869625"/>
                  <a:ext cx="92751" cy="253609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 dirty="0"/>
                </a:p>
              </p:txBody>
            </p:sp>
            <p:sp>
              <p:nvSpPr>
                <p:cNvPr id="64" name="Rechthoek 63">
                  <a:extLst>
                    <a:ext uri="{FF2B5EF4-FFF2-40B4-BE49-F238E27FC236}">
                      <a16:creationId xmlns:a16="http://schemas.microsoft.com/office/drawing/2014/main" xmlns="" id="{C320B61D-E97E-E046-BA34-62A2F343C3A5}"/>
                    </a:ext>
                  </a:extLst>
                </p:cNvPr>
                <p:cNvSpPr/>
                <p:nvPr userDrawn="1"/>
              </p:nvSpPr>
              <p:spPr>
                <a:xfrm>
                  <a:off x="12590223" y="1754144"/>
                  <a:ext cx="92751" cy="369091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 dirty="0"/>
                </a:p>
              </p:txBody>
            </p:sp>
            <p:sp>
              <p:nvSpPr>
                <p:cNvPr id="65" name="Rechthoek 64">
                  <a:extLst>
                    <a:ext uri="{FF2B5EF4-FFF2-40B4-BE49-F238E27FC236}">
                      <a16:creationId xmlns:a16="http://schemas.microsoft.com/office/drawing/2014/main" xmlns="" id="{E9698206-BE18-DA4B-A990-99E571D4EC31}"/>
                    </a:ext>
                  </a:extLst>
                </p:cNvPr>
                <p:cNvSpPr/>
                <p:nvPr userDrawn="1"/>
              </p:nvSpPr>
              <p:spPr>
                <a:xfrm>
                  <a:off x="12714370" y="1836322"/>
                  <a:ext cx="92751" cy="286913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noProof="0" dirty="0"/>
                </a:p>
              </p:txBody>
            </p:sp>
          </p:grpSp>
        </p:grpSp>
        <p:grpSp>
          <p:nvGrpSpPr>
            <p:cNvPr id="11" name="Instructie Grafiek B">
              <a:extLst>
                <a:ext uri="{FF2B5EF4-FFF2-40B4-BE49-F238E27FC236}">
                  <a16:creationId xmlns:a16="http://schemas.microsoft.com/office/drawing/2014/main" xmlns="" id="{A91A67C1-FF9B-A947-AB38-5ADC61A1BC34}"/>
                </a:ext>
              </a:extLst>
            </p:cNvPr>
            <p:cNvGrpSpPr/>
            <p:nvPr userDrawn="1"/>
          </p:nvGrpSpPr>
          <p:grpSpPr>
            <a:xfrm>
              <a:off x="12445267" y="4957361"/>
              <a:ext cx="2704546" cy="1906083"/>
              <a:chOff x="9411254" y="4957361"/>
              <a:chExt cx="2704546" cy="1906083"/>
            </a:xfrm>
          </p:grpSpPr>
          <p:cxnSp>
            <p:nvCxnSpPr>
              <p:cNvPr id="13" name="Rechte verbindingslijn 12">
                <a:extLst>
                  <a:ext uri="{FF2B5EF4-FFF2-40B4-BE49-F238E27FC236}">
                    <a16:creationId xmlns:a16="http://schemas.microsoft.com/office/drawing/2014/main" xmlns="" id="{E13E865B-69C9-8D4B-999D-567BF7540C77}"/>
                  </a:ext>
                </a:extLst>
              </p:cNvPr>
              <p:cNvCxnSpPr/>
              <p:nvPr/>
            </p:nvCxnSpPr>
            <p:spPr>
              <a:xfrm>
                <a:off x="9411254" y="6863444"/>
                <a:ext cx="2704546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sp>
            <p:nvSpPr>
              <p:cNvPr id="14" name="Rechthoek 13">
                <a:extLst>
                  <a:ext uri="{FF2B5EF4-FFF2-40B4-BE49-F238E27FC236}">
                    <a16:creationId xmlns:a16="http://schemas.microsoft.com/office/drawing/2014/main" xmlns="" id="{5BC700EB-E67A-7647-98E4-808A8DE3CF06}"/>
                  </a:ext>
                </a:extLst>
              </p:cNvPr>
              <p:cNvSpPr/>
              <p:nvPr userDrawn="1"/>
            </p:nvSpPr>
            <p:spPr>
              <a:xfrm>
                <a:off x="9423987" y="4957361"/>
                <a:ext cx="2677678" cy="180949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lnSpc>
                    <a:spcPct val="80000"/>
                  </a:lnSpc>
                </a:pPr>
                <a:r>
                  <a:rPr lang="nl-NL" sz="1600" b="1" kern="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GRAFIEK</a:t>
                </a:r>
                <a:r>
                  <a:rPr lang="nl-NL" sz="1600" b="1" kern="0" baseline="0" dirty="0">
                    <a:solidFill>
                      <a:schemeClr val="tx1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 BEWERKEN</a:t>
                </a:r>
                <a:endParaRPr lang="nl-NL" sz="1600" b="1" kern="0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xmlns="" id="{3DC9CEC3-0AF8-7741-B3B4-34D674543E7E}"/>
                  </a:ext>
                </a:extLst>
              </p:cNvPr>
              <p:cNvCxnSpPr/>
              <p:nvPr userDrawn="1"/>
            </p:nvCxnSpPr>
            <p:spPr>
              <a:xfrm>
                <a:off x="9428060" y="5245825"/>
                <a:ext cx="2675935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accent5"/>
                </a:solidFill>
                <a:prstDash val="solid"/>
              </a:ln>
              <a:effectLst/>
            </p:spPr>
          </p:cxnSp>
          <p:sp>
            <p:nvSpPr>
              <p:cNvPr id="16" name="Tekstvak 33">
                <a:extLst>
                  <a:ext uri="{FF2B5EF4-FFF2-40B4-BE49-F238E27FC236}">
                    <a16:creationId xmlns:a16="http://schemas.microsoft.com/office/drawing/2014/main" xmlns="" id="{432CFC20-B8F8-EE41-B8D7-48CFED615106}"/>
                  </a:ext>
                </a:extLst>
              </p:cNvPr>
              <p:cNvSpPr txBox="1"/>
              <p:nvPr userDrawn="1"/>
            </p:nvSpPr>
            <p:spPr>
              <a:xfrm>
                <a:off x="9423987" y="5356960"/>
                <a:ext cx="2584447" cy="49500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>
                <a:defPPr>
                  <a:defRPr lang="nl-NL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+mn-ea"/>
                    <a:cs typeface="Arial" charset="0"/>
                  </a:defRPr>
                </a:lvl9pPr>
              </a:lstStyle>
              <a:p>
                <a:pPr lvl="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nl-NL" sz="1200" kern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Selecteer de grafiek, klik op de rechter muisknop en kies </a:t>
                </a:r>
                <a:r>
                  <a:rPr lang="nl-NL" sz="1200" b="1" kern="0" dirty="0">
                    <a:solidFill>
                      <a:schemeClr val="accent5"/>
                    </a:solidFill>
                    <a:latin typeface="Calibri" panose="020F0502020204030204" pitchFamily="34" charset="0"/>
                    <a:cs typeface="Calibri" panose="020F0502020204030204" pitchFamily="34" charset="0"/>
                  </a:rPr>
                  <a:t>‘Gegevens bewerken’</a:t>
                </a:r>
              </a:p>
            </p:txBody>
          </p:sp>
          <p:grpSp>
            <p:nvGrpSpPr>
              <p:cNvPr id="17" name="Groep 16">
                <a:extLst>
                  <a:ext uri="{FF2B5EF4-FFF2-40B4-BE49-F238E27FC236}">
                    <a16:creationId xmlns:a16="http://schemas.microsoft.com/office/drawing/2014/main" xmlns="" id="{0D3997F9-55E5-4145-B343-18A1641F45FA}"/>
                  </a:ext>
                </a:extLst>
              </p:cNvPr>
              <p:cNvGrpSpPr/>
              <p:nvPr userDrawn="1"/>
            </p:nvGrpSpPr>
            <p:grpSpPr>
              <a:xfrm>
                <a:off x="9428060" y="6066494"/>
                <a:ext cx="1980859" cy="542924"/>
                <a:chOff x="12390702" y="6054428"/>
                <a:chExt cx="1980859" cy="542924"/>
              </a:xfrm>
            </p:grpSpPr>
            <p:sp>
              <p:nvSpPr>
                <p:cNvPr id="18" name="Rechthoek 17">
                  <a:extLst>
                    <a:ext uri="{FF2B5EF4-FFF2-40B4-BE49-F238E27FC236}">
                      <a16:creationId xmlns:a16="http://schemas.microsoft.com/office/drawing/2014/main" xmlns="" id="{1E2099B8-03AB-104C-A44C-48824CA333C9}"/>
                    </a:ext>
                  </a:extLst>
                </p:cNvPr>
                <p:cNvSpPr/>
                <p:nvPr/>
              </p:nvSpPr>
              <p:spPr>
                <a:xfrm>
                  <a:off x="12402284" y="6054428"/>
                  <a:ext cx="1969277" cy="542924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nl-NL" dirty="0"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19" name="Rechthoek 18">
                  <a:extLst>
                    <a:ext uri="{FF2B5EF4-FFF2-40B4-BE49-F238E27FC236}">
                      <a16:creationId xmlns:a16="http://schemas.microsoft.com/office/drawing/2014/main" xmlns="" id="{E09EDD8C-823F-1B49-A51C-07AC7DB9384A}"/>
                    </a:ext>
                  </a:extLst>
                </p:cNvPr>
                <p:cNvSpPr/>
                <p:nvPr/>
              </p:nvSpPr>
              <p:spPr>
                <a:xfrm>
                  <a:off x="12662053" y="6062530"/>
                  <a:ext cx="1430200" cy="261610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nl-NL" sz="1100" dirty="0">
                      <a:solidFill>
                        <a:schemeClr val="accent5"/>
                      </a:solidFill>
                      <a:ea typeface="Adobe Heiti Std R" panose="020B0400000000000000" pitchFamily="34" charset="-128"/>
                      <a:cs typeface="Segoe UI Light" panose="020B0502040204020203" pitchFamily="34" charset="0"/>
                    </a:rPr>
                    <a:t>Ander grafiektype…</a:t>
                  </a:r>
                </a:p>
              </p:txBody>
            </p:sp>
            <p:sp>
              <p:nvSpPr>
                <p:cNvPr id="20" name="Gelijkbenige driehoek 58">
                  <a:extLst>
                    <a:ext uri="{FF2B5EF4-FFF2-40B4-BE49-F238E27FC236}">
                      <a16:creationId xmlns:a16="http://schemas.microsoft.com/office/drawing/2014/main" xmlns="" id="{170F5BAB-E6AF-C04D-BAC7-0F12EFD7F22B}"/>
                    </a:ext>
                  </a:extLst>
                </p:cNvPr>
                <p:cNvSpPr/>
                <p:nvPr/>
              </p:nvSpPr>
              <p:spPr>
                <a:xfrm rot="5400000">
                  <a:off x="14210471" y="6150144"/>
                  <a:ext cx="105309" cy="57157"/>
                </a:xfrm>
                <a:prstGeom prst="triangle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nl-NL" dirty="0">
                    <a:ea typeface="Adobe Heiti Std R" panose="020B0400000000000000" pitchFamily="34" charset="-128"/>
                    <a:cs typeface="Segoe UI Light" panose="020B0502040204020203" pitchFamily="34" charset="0"/>
                  </a:endParaRPr>
                </a:p>
              </p:txBody>
            </p:sp>
            <p:sp>
              <p:nvSpPr>
                <p:cNvPr id="21" name="Afgeronde rechthoek 20">
                  <a:extLst>
                    <a:ext uri="{FF2B5EF4-FFF2-40B4-BE49-F238E27FC236}">
                      <a16:creationId xmlns:a16="http://schemas.microsoft.com/office/drawing/2014/main" xmlns="" id="{038EC6B6-78BB-1C41-81AD-7C1FF3CC8B19}"/>
                    </a:ext>
                  </a:extLst>
                </p:cNvPr>
                <p:cNvSpPr/>
                <p:nvPr/>
              </p:nvSpPr>
              <p:spPr>
                <a:xfrm>
                  <a:off x="12390702" y="6322741"/>
                  <a:ext cx="1973675" cy="268314"/>
                </a:xfrm>
                <a:prstGeom prst="roundRect">
                  <a:avLst/>
                </a:prstGeom>
                <a:gradFill>
                  <a:gsLst>
                    <a:gs pos="0">
                      <a:srgbClr val="FFF2BD"/>
                    </a:gs>
                    <a:gs pos="34000">
                      <a:srgbClr val="FFE98B"/>
                    </a:gs>
                    <a:gs pos="78000">
                      <a:srgbClr val="FFF5C9"/>
                    </a:gs>
                    <a:gs pos="59000">
                      <a:srgbClr val="FFE98B"/>
                    </a:gs>
                  </a:gsLst>
                  <a:lin ang="5400000" scaled="0"/>
                </a:gradFill>
                <a:ln w="6350">
                  <a:solidFill>
                    <a:srgbClr val="FFC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324000" rtlCol="0" anchor="ctr"/>
                <a:lstStyle/>
                <a:p>
                  <a:r>
                    <a:rPr lang="nl-NL" sz="1100" dirty="0">
                      <a:solidFill>
                        <a:schemeClr val="accent5"/>
                      </a:solidFill>
                      <a:ea typeface="Adobe Heiti Std R" panose="020B0400000000000000" pitchFamily="34" charset="-128"/>
                      <a:cs typeface="Segoe UI Light" panose="020B0502040204020203" pitchFamily="34" charset="0"/>
                    </a:rPr>
                    <a:t>Gegevens bewerken…</a:t>
                  </a:r>
                </a:p>
              </p:txBody>
            </p:sp>
            <p:grpSp>
              <p:nvGrpSpPr>
                <p:cNvPr id="22" name="Groep 21">
                  <a:extLst>
                    <a:ext uri="{FF2B5EF4-FFF2-40B4-BE49-F238E27FC236}">
                      <a16:creationId xmlns:a16="http://schemas.microsoft.com/office/drawing/2014/main" xmlns="" id="{F763FC41-75DD-2043-AA67-22F5BEF7FE0F}"/>
                    </a:ext>
                  </a:extLst>
                </p:cNvPr>
                <p:cNvGrpSpPr/>
                <p:nvPr/>
              </p:nvGrpSpPr>
              <p:grpSpPr>
                <a:xfrm>
                  <a:off x="12461788" y="6100223"/>
                  <a:ext cx="204691" cy="170000"/>
                  <a:chOff x="15171969" y="1587338"/>
                  <a:chExt cx="755407" cy="627385"/>
                </a:xfrm>
              </p:grpSpPr>
              <p:sp>
                <p:nvSpPr>
                  <p:cNvPr id="40" name="Rechthoek 962">
                    <a:extLst>
                      <a:ext uri="{FF2B5EF4-FFF2-40B4-BE49-F238E27FC236}">
                        <a16:creationId xmlns:a16="http://schemas.microsoft.com/office/drawing/2014/main" xmlns="" id="{573D632F-9507-F144-9410-C3AEA4951B5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5171969" y="2008934"/>
                    <a:ext cx="755407" cy="205789"/>
                  </a:xfrm>
                  <a:custGeom>
                    <a:avLst/>
                    <a:gdLst>
                      <a:gd name="connsiteX0" fmla="*/ 0 w 664132"/>
                      <a:gd name="connsiteY0" fmla="*/ 0 h 277787"/>
                      <a:gd name="connsiteX1" fmla="*/ 664132 w 664132"/>
                      <a:gd name="connsiteY1" fmla="*/ 0 h 277787"/>
                      <a:gd name="connsiteX2" fmla="*/ 664132 w 664132"/>
                      <a:gd name="connsiteY2" fmla="*/ 277787 h 277787"/>
                      <a:gd name="connsiteX3" fmla="*/ 0 w 664132"/>
                      <a:gd name="connsiteY3" fmla="*/ 277787 h 277787"/>
                      <a:gd name="connsiteX4" fmla="*/ 0 w 664132"/>
                      <a:gd name="connsiteY4" fmla="*/ 0 h 277787"/>
                      <a:gd name="connsiteX0" fmla="*/ 0 w 664132"/>
                      <a:gd name="connsiteY0" fmla="*/ 0 h 290487"/>
                      <a:gd name="connsiteX1" fmla="*/ 664132 w 664132"/>
                      <a:gd name="connsiteY1" fmla="*/ 0 h 290487"/>
                      <a:gd name="connsiteX2" fmla="*/ 333932 w 664132"/>
                      <a:gd name="connsiteY2" fmla="*/ 290487 h 290487"/>
                      <a:gd name="connsiteX3" fmla="*/ 0 w 664132"/>
                      <a:gd name="connsiteY3" fmla="*/ 277787 h 290487"/>
                      <a:gd name="connsiteX4" fmla="*/ 0 w 664132"/>
                      <a:gd name="connsiteY4" fmla="*/ 0 h 290487"/>
                      <a:gd name="connsiteX0" fmla="*/ 0 w 664132"/>
                      <a:gd name="connsiteY0" fmla="*/ 0 h 277787"/>
                      <a:gd name="connsiteX1" fmla="*/ 664132 w 664132"/>
                      <a:gd name="connsiteY1" fmla="*/ 0 h 277787"/>
                      <a:gd name="connsiteX2" fmla="*/ 575232 w 664132"/>
                      <a:gd name="connsiteY2" fmla="*/ 271437 h 277787"/>
                      <a:gd name="connsiteX3" fmla="*/ 0 w 664132"/>
                      <a:gd name="connsiteY3" fmla="*/ 277787 h 277787"/>
                      <a:gd name="connsiteX4" fmla="*/ 0 w 664132"/>
                      <a:gd name="connsiteY4" fmla="*/ 0 h 277787"/>
                      <a:gd name="connsiteX0" fmla="*/ 0 w 708582"/>
                      <a:gd name="connsiteY0" fmla="*/ 0 h 277787"/>
                      <a:gd name="connsiteX1" fmla="*/ 708582 w 708582"/>
                      <a:gd name="connsiteY1" fmla="*/ 31750 h 277787"/>
                      <a:gd name="connsiteX2" fmla="*/ 575232 w 708582"/>
                      <a:gd name="connsiteY2" fmla="*/ 271437 h 277787"/>
                      <a:gd name="connsiteX3" fmla="*/ 0 w 708582"/>
                      <a:gd name="connsiteY3" fmla="*/ 277787 h 277787"/>
                      <a:gd name="connsiteX4" fmla="*/ 0 w 708582"/>
                      <a:gd name="connsiteY4" fmla="*/ 0 h 277787"/>
                      <a:gd name="connsiteX0" fmla="*/ 228600 w 708582"/>
                      <a:gd name="connsiteY0" fmla="*/ 6350 h 246037"/>
                      <a:gd name="connsiteX1" fmla="*/ 708582 w 708582"/>
                      <a:gd name="connsiteY1" fmla="*/ 0 h 246037"/>
                      <a:gd name="connsiteX2" fmla="*/ 575232 w 708582"/>
                      <a:gd name="connsiteY2" fmla="*/ 239687 h 246037"/>
                      <a:gd name="connsiteX3" fmla="*/ 0 w 708582"/>
                      <a:gd name="connsiteY3" fmla="*/ 246037 h 246037"/>
                      <a:gd name="connsiteX4" fmla="*/ 228600 w 708582"/>
                      <a:gd name="connsiteY4" fmla="*/ 6350 h 246037"/>
                      <a:gd name="connsiteX0" fmla="*/ 228600 w 778432"/>
                      <a:gd name="connsiteY0" fmla="*/ 0 h 239687"/>
                      <a:gd name="connsiteX1" fmla="*/ 778432 w 778432"/>
                      <a:gd name="connsiteY1" fmla="*/ 25400 h 239687"/>
                      <a:gd name="connsiteX2" fmla="*/ 575232 w 778432"/>
                      <a:gd name="connsiteY2" fmla="*/ 233337 h 239687"/>
                      <a:gd name="connsiteX3" fmla="*/ 0 w 778432"/>
                      <a:gd name="connsiteY3" fmla="*/ 239687 h 239687"/>
                      <a:gd name="connsiteX4" fmla="*/ 228600 w 778432"/>
                      <a:gd name="connsiteY4" fmla="*/ 0 h 239687"/>
                      <a:gd name="connsiteX0" fmla="*/ 228600 w 778432"/>
                      <a:gd name="connsiteY0" fmla="*/ 0 h 214287"/>
                      <a:gd name="connsiteX1" fmla="*/ 778432 w 778432"/>
                      <a:gd name="connsiteY1" fmla="*/ 0 h 214287"/>
                      <a:gd name="connsiteX2" fmla="*/ 575232 w 778432"/>
                      <a:gd name="connsiteY2" fmla="*/ 207937 h 214287"/>
                      <a:gd name="connsiteX3" fmla="*/ 0 w 778432"/>
                      <a:gd name="connsiteY3" fmla="*/ 214287 h 214287"/>
                      <a:gd name="connsiteX4" fmla="*/ 228600 w 778432"/>
                      <a:gd name="connsiteY4" fmla="*/ 0 h 214287"/>
                      <a:gd name="connsiteX0" fmla="*/ 228600 w 730724"/>
                      <a:gd name="connsiteY0" fmla="*/ 3975 h 218262"/>
                      <a:gd name="connsiteX1" fmla="*/ 730724 w 730724"/>
                      <a:gd name="connsiteY1" fmla="*/ 0 h 218262"/>
                      <a:gd name="connsiteX2" fmla="*/ 575232 w 730724"/>
                      <a:gd name="connsiteY2" fmla="*/ 211912 h 218262"/>
                      <a:gd name="connsiteX3" fmla="*/ 0 w 730724"/>
                      <a:gd name="connsiteY3" fmla="*/ 218262 h 218262"/>
                      <a:gd name="connsiteX4" fmla="*/ 228600 w 730724"/>
                      <a:gd name="connsiteY4" fmla="*/ 3975 h 218262"/>
                      <a:gd name="connsiteX0" fmla="*/ 252454 w 754578"/>
                      <a:gd name="connsiteY0" fmla="*/ 3975 h 211912"/>
                      <a:gd name="connsiteX1" fmla="*/ 754578 w 754578"/>
                      <a:gd name="connsiteY1" fmla="*/ 0 h 211912"/>
                      <a:gd name="connsiteX2" fmla="*/ 599086 w 754578"/>
                      <a:gd name="connsiteY2" fmla="*/ 211912 h 211912"/>
                      <a:gd name="connsiteX3" fmla="*/ 0 w 754578"/>
                      <a:gd name="connsiteY3" fmla="*/ 210311 h 211912"/>
                      <a:gd name="connsiteX4" fmla="*/ 252454 w 754578"/>
                      <a:gd name="connsiteY4" fmla="*/ 3975 h 211912"/>
                      <a:gd name="connsiteX0" fmla="*/ 172941 w 754578"/>
                      <a:gd name="connsiteY0" fmla="*/ 0 h 219864"/>
                      <a:gd name="connsiteX1" fmla="*/ 754578 w 754578"/>
                      <a:gd name="connsiteY1" fmla="*/ 7952 h 219864"/>
                      <a:gd name="connsiteX2" fmla="*/ 599086 w 754578"/>
                      <a:gd name="connsiteY2" fmla="*/ 219864 h 219864"/>
                      <a:gd name="connsiteX3" fmla="*/ 0 w 754578"/>
                      <a:gd name="connsiteY3" fmla="*/ 218263 h 219864"/>
                      <a:gd name="connsiteX4" fmla="*/ 172941 w 754578"/>
                      <a:gd name="connsiteY4" fmla="*/ 0 h 219864"/>
                      <a:gd name="connsiteX0" fmla="*/ 172941 w 754578"/>
                      <a:gd name="connsiteY0" fmla="*/ 0 h 223840"/>
                      <a:gd name="connsiteX1" fmla="*/ 754578 w 754578"/>
                      <a:gd name="connsiteY1" fmla="*/ 7952 h 223840"/>
                      <a:gd name="connsiteX2" fmla="*/ 654745 w 754578"/>
                      <a:gd name="connsiteY2" fmla="*/ 223840 h 223840"/>
                      <a:gd name="connsiteX3" fmla="*/ 0 w 754578"/>
                      <a:gd name="connsiteY3" fmla="*/ 218263 h 223840"/>
                      <a:gd name="connsiteX4" fmla="*/ 172941 w 754578"/>
                      <a:gd name="connsiteY4" fmla="*/ 0 h 223840"/>
                      <a:gd name="connsiteX0" fmla="*/ 172941 w 754578"/>
                      <a:gd name="connsiteY0" fmla="*/ 0 h 219864"/>
                      <a:gd name="connsiteX1" fmla="*/ 754578 w 754578"/>
                      <a:gd name="connsiteY1" fmla="*/ 7952 h 219864"/>
                      <a:gd name="connsiteX2" fmla="*/ 646793 w 754578"/>
                      <a:gd name="connsiteY2" fmla="*/ 219864 h 219864"/>
                      <a:gd name="connsiteX3" fmla="*/ 0 w 754578"/>
                      <a:gd name="connsiteY3" fmla="*/ 218263 h 219864"/>
                      <a:gd name="connsiteX4" fmla="*/ 172941 w 754578"/>
                      <a:gd name="connsiteY4" fmla="*/ 0 h 219864"/>
                      <a:gd name="connsiteX0" fmla="*/ 172941 w 818189"/>
                      <a:gd name="connsiteY0" fmla="*/ 0 h 219864"/>
                      <a:gd name="connsiteX1" fmla="*/ 818189 w 818189"/>
                      <a:gd name="connsiteY1" fmla="*/ 31806 h 219864"/>
                      <a:gd name="connsiteX2" fmla="*/ 646793 w 818189"/>
                      <a:gd name="connsiteY2" fmla="*/ 219864 h 219864"/>
                      <a:gd name="connsiteX3" fmla="*/ 0 w 818189"/>
                      <a:gd name="connsiteY3" fmla="*/ 218263 h 219864"/>
                      <a:gd name="connsiteX4" fmla="*/ 172941 w 818189"/>
                      <a:gd name="connsiteY4" fmla="*/ 0 h 219864"/>
                      <a:gd name="connsiteX0" fmla="*/ 172941 w 806262"/>
                      <a:gd name="connsiteY0" fmla="*/ 0 h 219864"/>
                      <a:gd name="connsiteX1" fmla="*/ 806262 w 806262"/>
                      <a:gd name="connsiteY1" fmla="*/ 11928 h 219864"/>
                      <a:gd name="connsiteX2" fmla="*/ 646793 w 806262"/>
                      <a:gd name="connsiteY2" fmla="*/ 219864 h 219864"/>
                      <a:gd name="connsiteX3" fmla="*/ 0 w 806262"/>
                      <a:gd name="connsiteY3" fmla="*/ 218263 h 219864"/>
                      <a:gd name="connsiteX4" fmla="*/ 172941 w 806262"/>
                      <a:gd name="connsiteY4" fmla="*/ 0 h 219864"/>
                      <a:gd name="connsiteX0" fmla="*/ 172941 w 798310"/>
                      <a:gd name="connsiteY0" fmla="*/ 0 h 219864"/>
                      <a:gd name="connsiteX1" fmla="*/ 798310 w 798310"/>
                      <a:gd name="connsiteY1" fmla="*/ 15903 h 219864"/>
                      <a:gd name="connsiteX2" fmla="*/ 646793 w 798310"/>
                      <a:gd name="connsiteY2" fmla="*/ 219864 h 219864"/>
                      <a:gd name="connsiteX3" fmla="*/ 0 w 798310"/>
                      <a:gd name="connsiteY3" fmla="*/ 218263 h 219864"/>
                      <a:gd name="connsiteX4" fmla="*/ 172941 w 798310"/>
                      <a:gd name="connsiteY4" fmla="*/ 0 h 219864"/>
                      <a:gd name="connsiteX0" fmla="*/ 172941 w 798310"/>
                      <a:gd name="connsiteY0" fmla="*/ 0 h 259620"/>
                      <a:gd name="connsiteX1" fmla="*/ 798310 w 798310"/>
                      <a:gd name="connsiteY1" fmla="*/ 15903 h 259620"/>
                      <a:gd name="connsiteX2" fmla="*/ 614988 w 798310"/>
                      <a:gd name="connsiteY2" fmla="*/ 259620 h 259620"/>
                      <a:gd name="connsiteX3" fmla="*/ 0 w 798310"/>
                      <a:gd name="connsiteY3" fmla="*/ 218263 h 259620"/>
                      <a:gd name="connsiteX4" fmla="*/ 172941 w 798310"/>
                      <a:gd name="connsiteY4" fmla="*/ 0 h 259620"/>
                      <a:gd name="connsiteX0" fmla="*/ 188843 w 814212"/>
                      <a:gd name="connsiteY0" fmla="*/ 0 h 259620"/>
                      <a:gd name="connsiteX1" fmla="*/ 814212 w 814212"/>
                      <a:gd name="connsiteY1" fmla="*/ 15903 h 259620"/>
                      <a:gd name="connsiteX2" fmla="*/ 630890 w 814212"/>
                      <a:gd name="connsiteY2" fmla="*/ 259620 h 259620"/>
                      <a:gd name="connsiteX3" fmla="*/ 0 w 814212"/>
                      <a:gd name="connsiteY3" fmla="*/ 254043 h 259620"/>
                      <a:gd name="connsiteX4" fmla="*/ 188843 w 814212"/>
                      <a:gd name="connsiteY4" fmla="*/ 0 h 259620"/>
                      <a:gd name="connsiteX0" fmla="*/ 208721 w 834090"/>
                      <a:gd name="connsiteY0" fmla="*/ 0 h 259620"/>
                      <a:gd name="connsiteX1" fmla="*/ 834090 w 834090"/>
                      <a:gd name="connsiteY1" fmla="*/ 15903 h 259620"/>
                      <a:gd name="connsiteX2" fmla="*/ 650768 w 834090"/>
                      <a:gd name="connsiteY2" fmla="*/ 259620 h 259620"/>
                      <a:gd name="connsiteX3" fmla="*/ 0 w 834090"/>
                      <a:gd name="connsiteY3" fmla="*/ 254043 h 259620"/>
                      <a:gd name="connsiteX4" fmla="*/ 208721 w 834090"/>
                      <a:gd name="connsiteY4" fmla="*/ 0 h 259620"/>
                      <a:gd name="connsiteX0" fmla="*/ 268356 w 893725"/>
                      <a:gd name="connsiteY0" fmla="*/ 0 h 259620"/>
                      <a:gd name="connsiteX1" fmla="*/ 893725 w 893725"/>
                      <a:gd name="connsiteY1" fmla="*/ 15903 h 259620"/>
                      <a:gd name="connsiteX2" fmla="*/ 710403 w 893725"/>
                      <a:gd name="connsiteY2" fmla="*/ 259620 h 259620"/>
                      <a:gd name="connsiteX3" fmla="*/ 0 w 893725"/>
                      <a:gd name="connsiteY3" fmla="*/ 254043 h 259620"/>
                      <a:gd name="connsiteX4" fmla="*/ 268356 w 893725"/>
                      <a:gd name="connsiteY4" fmla="*/ 0 h 259620"/>
                      <a:gd name="connsiteX0" fmla="*/ 260405 w 885774"/>
                      <a:gd name="connsiteY0" fmla="*/ 0 h 259620"/>
                      <a:gd name="connsiteX1" fmla="*/ 885774 w 885774"/>
                      <a:gd name="connsiteY1" fmla="*/ 15903 h 259620"/>
                      <a:gd name="connsiteX2" fmla="*/ 702452 w 885774"/>
                      <a:gd name="connsiteY2" fmla="*/ 259620 h 259620"/>
                      <a:gd name="connsiteX3" fmla="*/ 0 w 885774"/>
                      <a:gd name="connsiteY3" fmla="*/ 254043 h 259620"/>
                      <a:gd name="connsiteX4" fmla="*/ 260405 w 885774"/>
                      <a:gd name="connsiteY4" fmla="*/ 0 h 259620"/>
                      <a:gd name="connsiteX0" fmla="*/ 220648 w 885774"/>
                      <a:gd name="connsiteY0" fmla="*/ 0 h 243717"/>
                      <a:gd name="connsiteX1" fmla="*/ 885774 w 885774"/>
                      <a:gd name="connsiteY1" fmla="*/ 0 h 243717"/>
                      <a:gd name="connsiteX2" fmla="*/ 702452 w 885774"/>
                      <a:gd name="connsiteY2" fmla="*/ 243717 h 243717"/>
                      <a:gd name="connsiteX3" fmla="*/ 0 w 885774"/>
                      <a:gd name="connsiteY3" fmla="*/ 238140 h 243717"/>
                      <a:gd name="connsiteX4" fmla="*/ 220648 w 885774"/>
                      <a:gd name="connsiteY4" fmla="*/ 0 h 2437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85774" h="243717">
                        <a:moveTo>
                          <a:pt x="220648" y="0"/>
                        </a:moveTo>
                        <a:lnTo>
                          <a:pt x="885774" y="0"/>
                        </a:lnTo>
                        <a:lnTo>
                          <a:pt x="702452" y="243717"/>
                        </a:lnTo>
                        <a:lnTo>
                          <a:pt x="0" y="238140"/>
                        </a:lnTo>
                        <a:lnTo>
                          <a:pt x="220648" y="0"/>
                        </a:lnTo>
                        <a:close/>
                      </a:path>
                    </a:pathLst>
                  </a:custGeom>
                  <a:solidFill>
                    <a:srgbClr val="FFFFFF">
                      <a:lumMod val="50000"/>
                    </a:srgbClr>
                  </a:solidFill>
                  <a:ln w="25400" cap="flat" cmpd="sng" algn="ctr">
                    <a:noFill/>
                    <a:prstDash val="solid"/>
                  </a:ln>
                  <a:effectLst>
                    <a:softEdge rad="31750"/>
                  </a:effectLst>
                </p:spPr>
                <p:txBody>
                  <a:bodyPr rtlCol="0" anchor="ctr"/>
                  <a:lstStyle>
                    <a:defPPr>
                      <a:defRPr lang="nl-NL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5pPr>
                    <a:lvl6pPr marL="22860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6pPr>
                    <a:lvl7pPr marL="27432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7pPr>
                    <a:lvl8pPr marL="32004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8pPr>
                    <a:lvl9pPr marL="3657600" algn="l" defTabSz="914400" rtl="0" eaLnBrk="1" latinLnBrk="0" hangingPunct="1">
                      <a:defRPr kern="1200">
                        <a:solidFill>
                          <a:schemeClr val="tx1"/>
                        </a:solidFill>
                        <a:latin typeface="Arial" charset="0"/>
                        <a:ea typeface="+mn-ea"/>
                        <a:cs typeface="Arial" charset="0"/>
                      </a:defRPr>
                    </a:lvl9pPr>
                  </a:lstStyle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nl-NL" sz="1600" b="0" i="0" u="none" strike="noStrike" kern="0" cap="none" spc="0" normalizeH="0" baseline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+mn-lt"/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grpSp>
                <p:nvGrpSpPr>
                  <p:cNvPr id="41" name="Groep 40">
                    <a:extLst>
                      <a:ext uri="{FF2B5EF4-FFF2-40B4-BE49-F238E27FC236}">
                        <a16:creationId xmlns:a16="http://schemas.microsoft.com/office/drawing/2014/main" xmlns="" id="{DCF4718E-8D48-5B46-99A4-9098EF61248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5281106" y="1587338"/>
                    <a:ext cx="511775" cy="560304"/>
                    <a:chOff x="10604642" y="969717"/>
                    <a:chExt cx="1290643" cy="1427163"/>
                  </a:xfrm>
                </p:grpSpPr>
                <p:grpSp>
                  <p:nvGrpSpPr>
                    <p:cNvPr id="42" name="Group 879">
                      <a:extLst>
                        <a:ext uri="{FF2B5EF4-FFF2-40B4-BE49-F238E27FC236}">
                          <a16:creationId xmlns:a16="http://schemas.microsoft.com/office/drawing/2014/main" xmlns="" id="{E80D1D26-06F2-7F4D-B14F-9A24F5A86BEA}"/>
                        </a:ext>
                      </a:extLst>
                    </p:cNvPr>
                    <p:cNvGrpSpPr>
                      <a:grpSpLocks noChangeAspect="1"/>
                    </p:cNvGrpSpPr>
                    <p:nvPr userDrawn="1"/>
                  </p:nvGrpSpPr>
                  <p:grpSpPr bwMode="auto">
                    <a:xfrm>
                      <a:off x="10604642" y="969717"/>
                      <a:ext cx="1290643" cy="1427163"/>
                      <a:chOff x="4798" y="1515"/>
                      <a:chExt cx="813" cy="899"/>
                    </a:xfrm>
                  </p:grpSpPr>
                  <p:sp>
                    <p:nvSpPr>
                      <p:cNvPr id="44" name="Freeform 886">
                        <a:extLst>
                          <a:ext uri="{FF2B5EF4-FFF2-40B4-BE49-F238E27FC236}">
                            <a16:creationId xmlns:a16="http://schemas.microsoft.com/office/drawing/2014/main" xmlns="" id="{7A8FD2F1-594F-1844-A5C5-21214281B46B}"/>
                          </a:ext>
                        </a:extLst>
                      </p:cNvPr>
                      <p:cNvSpPr>
                        <a:spLocks/>
                      </p:cNvSpPr>
                      <p:nvPr userDrawn="1"/>
                    </p:nvSpPr>
                    <p:spPr bwMode="auto">
                      <a:xfrm>
                        <a:off x="5269" y="1515"/>
                        <a:ext cx="71" cy="898"/>
                      </a:xfrm>
                      <a:custGeom>
                        <a:avLst/>
                        <a:gdLst>
                          <a:gd name="T0" fmla="*/ 282 w 282"/>
                          <a:gd name="T1" fmla="*/ 0 h 3595"/>
                          <a:gd name="T2" fmla="*/ 282 w 282"/>
                          <a:gd name="T3" fmla="*/ 3138 h 3595"/>
                          <a:gd name="T4" fmla="*/ 0 w 282"/>
                          <a:gd name="T5" fmla="*/ 3595 h 3595"/>
                          <a:gd name="T6" fmla="*/ 0 w 282"/>
                          <a:gd name="T7" fmla="*/ 285 h 3595"/>
                          <a:gd name="T8" fmla="*/ 282 w 282"/>
                          <a:gd name="T9" fmla="*/ 0 h 3595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282" h="3595">
                            <a:moveTo>
                              <a:pt x="282" y="0"/>
                            </a:moveTo>
                            <a:lnTo>
                              <a:pt x="282" y="3138"/>
                            </a:lnTo>
                            <a:lnTo>
                              <a:pt x="0" y="3595"/>
                            </a:lnTo>
                            <a:lnTo>
                              <a:pt x="0" y="285"/>
                            </a:lnTo>
                            <a:lnTo>
                              <a:pt x="282" y="0"/>
                            </a:lnTo>
                            <a:close/>
                          </a:path>
                        </a:pathLst>
                      </a:custGeom>
                      <a:solidFill>
                        <a:srgbClr val="FFC000"/>
                      </a:solidFill>
                      <a:ln w="0">
                        <a:noFill/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sp>
                    <p:nvSpPr>
                      <p:cNvPr id="45" name="Rectangle 880">
                        <a:extLst>
                          <a:ext uri="{FF2B5EF4-FFF2-40B4-BE49-F238E27FC236}">
                            <a16:creationId xmlns:a16="http://schemas.microsoft.com/office/drawing/2014/main" xmlns="" id="{E25696D3-D7A7-F048-9B86-0C88281E4C4E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4798" y="1515"/>
                        <a:ext cx="813" cy="899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  <a:prstDash val="solid"/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sp>
                    <p:nvSpPr>
                      <p:cNvPr id="46" name="Rectangle 881">
                        <a:extLst>
                          <a:ext uri="{FF2B5EF4-FFF2-40B4-BE49-F238E27FC236}">
                            <a16:creationId xmlns:a16="http://schemas.microsoft.com/office/drawing/2014/main" xmlns="" id="{810C0950-C7A4-2E4A-9B16-E4B6F66819C0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4798" y="1857"/>
                        <a:ext cx="228" cy="55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rgbClr val="002060"/>
                          </a:gs>
                          <a:gs pos="100000">
                            <a:srgbClr val="1929FF"/>
                          </a:gs>
                        </a:gsLst>
                        <a:lin ang="16200000" scaled="1"/>
                        <a:tileRect/>
                      </a:gradFill>
                      <a:ln w="0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sp>
                    <p:nvSpPr>
                      <p:cNvPr id="47" name="Freeform 882">
                        <a:extLst>
                          <a:ext uri="{FF2B5EF4-FFF2-40B4-BE49-F238E27FC236}">
                            <a16:creationId xmlns:a16="http://schemas.microsoft.com/office/drawing/2014/main" xmlns="" id="{4C557B15-8CF6-D14F-B286-86A8866EBA44}"/>
                          </a:ext>
                        </a:extLst>
                      </p:cNvPr>
                      <p:cNvSpPr>
                        <a:spLocks/>
                      </p:cNvSpPr>
                      <p:nvPr userDrawn="1"/>
                    </p:nvSpPr>
                    <p:spPr bwMode="auto">
                      <a:xfrm>
                        <a:off x="4798" y="1771"/>
                        <a:ext cx="314" cy="86"/>
                      </a:xfrm>
                      <a:custGeom>
                        <a:avLst/>
                        <a:gdLst>
                          <a:gd name="T0" fmla="*/ 411 w 1255"/>
                          <a:gd name="T1" fmla="*/ 0 h 342"/>
                          <a:gd name="T2" fmla="*/ 1255 w 1255"/>
                          <a:gd name="T3" fmla="*/ 0 h 342"/>
                          <a:gd name="T4" fmla="*/ 913 w 1255"/>
                          <a:gd name="T5" fmla="*/ 342 h 342"/>
                          <a:gd name="T6" fmla="*/ 0 w 1255"/>
                          <a:gd name="T7" fmla="*/ 342 h 342"/>
                          <a:gd name="T8" fmla="*/ 411 w 1255"/>
                          <a:gd name="T9" fmla="*/ 0 h 342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1255" h="342">
                            <a:moveTo>
                              <a:pt x="411" y="0"/>
                            </a:moveTo>
                            <a:lnTo>
                              <a:pt x="1255" y="0"/>
                            </a:lnTo>
                            <a:lnTo>
                              <a:pt x="913" y="342"/>
                            </a:lnTo>
                            <a:lnTo>
                              <a:pt x="0" y="342"/>
                            </a:lnTo>
                            <a:lnTo>
                              <a:pt x="411" y="0"/>
                            </a:lnTo>
                            <a:close/>
                          </a:path>
                        </a:pathLst>
                      </a:custGeom>
                      <a:solidFill>
                        <a:srgbClr val="0039AC"/>
                      </a:solidFill>
                      <a:ln w="0">
                        <a:noFill/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sp>
                    <p:nvSpPr>
                      <p:cNvPr id="48" name="Freeform 883">
                        <a:extLst>
                          <a:ext uri="{FF2B5EF4-FFF2-40B4-BE49-F238E27FC236}">
                            <a16:creationId xmlns:a16="http://schemas.microsoft.com/office/drawing/2014/main" xmlns="" id="{402CBC74-7C31-5746-8355-F92712E49F84}"/>
                          </a:ext>
                        </a:extLst>
                      </p:cNvPr>
                      <p:cNvSpPr>
                        <a:spLocks/>
                      </p:cNvSpPr>
                      <p:nvPr userDrawn="1"/>
                    </p:nvSpPr>
                    <p:spPr bwMode="auto">
                      <a:xfrm>
                        <a:off x="5026" y="1771"/>
                        <a:ext cx="85" cy="642"/>
                      </a:xfrm>
                      <a:custGeom>
                        <a:avLst/>
                        <a:gdLst>
                          <a:gd name="T0" fmla="*/ 342 w 342"/>
                          <a:gd name="T1" fmla="*/ 0 h 2568"/>
                          <a:gd name="T2" fmla="*/ 342 w 342"/>
                          <a:gd name="T3" fmla="*/ 2111 h 2568"/>
                          <a:gd name="T4" fmla="*/ 0 w 342"/>
                          <a:gd name="T5" fmla="*/ 2568 h 2568"/>
                          <a:gd name="T6" fmla="*/ 0 w 342"/>
                          <a:gd name="T7" fmla="*/ 342 h 2568"/>
                          <a:gd name="T8" fmla="*/ 342 w 342"/>
                          <a:gd name="T9" fmla="*/ 0 h 2568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342" h="2568">
                            <a:moveTo>
                              <a:pt x="342" y="0"/>
                            </a:moveTo>
                            <a:lnTo>
                              <a:pt x="342" y="2111"/>
                            </a:lnTo>
                            <a:lnTo>
                              <a:pt x="0" y="2568"/>
                            </a:lnTo>
                            <a:lnTo>
                              <a:pt x="0" y="342"/>
                            </a:lnTo>
                            <a:lnTo>
                              <a:pt x="342" y="0"/>
                            </a:lnTo>
                            <a:close/>
                          </a:path>
                        </a:pathLst>
                      </a:custGeom>
                      <a:solidFill>
                        <a:srgbClr val="000075"/>
                      </a:solidFill>
                      <a:ln w="0">
                        <a:noFill/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sp>
                    <p:nvSpPr>
                      <p:cNvPr id="49" name="Freeform 884">
                        <a:extLst>
                          <a:ext uri="{FF2B5EF4-FFF2-40B4-BE49-F238E27FC236}">
                            <a16:creationId xmlns:a16="http://schemas.microsoft.com/office/drawing/2014/main" xmlns="" id="{7D76B4B8-B0C0-1042-BAC6-E692023A9EDE}"/>
                          </a:ext>
                        </a:extLst>
                      </p:cNvPr>
                      <p:cNvSpPr>
                        <a:spLocks/>
                      </p:cNvSpPr>
                      <p:nvPr userDrawn="1"/>
                    </p:nvSpPr>
                    <p:spPr bwMode="auto">
                      <a:xfrm>
                        <a:off x="5054" y="1515"/>
                        <a:ext cx="286" cy="72"/>
                      </a:xfrm>
                      <a:custGeom>
                        <a:avLst/>
                        <a:gdLst>
                          <a:gd name="T0" fmla="*/ 318 w 1140"/>
                          <a:gd name="T1" fmla="*/ 0 h 289"/>
                          <a:gd name="T2" fmla="*/ 1140 w 1140"/>
                          <a:gd name="T3" fmla="*/ 0 h 289"/>
                          <a:gd name="T4" fmla="*/ 855 w 1140"/>
                          <a:gd name="T5" fmla="*/ 289 h 289"/>
                          <a:gd name="T6" fmla="*/ 0 w 1140"/>
                          <a:gd name="T7" fmla="*/ 289 h 289"/>
                          <a:gd name="T8" fmla="*/ 318 w 1140"/>
                          <a:gd name="T9" fmla="*/ 0 h 289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1140" h="289">
                            <a:moveTo>
                              <a:pt x="318" y="0"/>
                            </a:moveTo>
                            <a:lnTo>
                              <a:pt x="1140" y="0"/>
                            </a:lnTo>
                            <a:lnTo>
                              <a:pt x="855" y="289"/>
                            </a:lnTo>
                            <a:lnTo>
                              <a:pt x="0" y="289"/>
                            </a:lnTo>
                            <a:lnTo>
                              <a:pt x="318" y="0"/>
                            </a:lnTo>
                            <a:close/>
                          </a:path>
                        </a:pathLst>
                      </a:custGeom>
                      <a:solidFill>
                        <a:srgbClr val="EEFF26"/>
                      </a:solidFill>
                      <a:ln w="0">
                        <a:noFill/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sp>
                    <p:nvSpPr>
                      <p:cNvPr id="50" name="Rectangle 885">
                        <a:extLst>
                          <a:ext uri="{FF2B5EF4-FFF2-40B4-BE49-F238E27FC236}">
                            <a16:creationId xmlns:a16="http://schemas.microsoft.com/office/drawing/2014/main" xmlns="" id="{050AD02C-E65B-DA42-ADD7-87EA1A774B77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5054" y="1587"/>
                        <a:ext cx="215" cy="827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rgbClr val="FFC000"/>
                          </a:gs>
                          <a:gs pos="100000">
                            <a:srgbClr val="FFFF00"/>
                          </a:gs>
                        </a:gsLst>
                        <a:lin ang="16200000" scaled="1"/>
                        <a:tileRect/>
                      </a:gradFill>
                      <a:ln w="0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sp>
                    <p:nvSpPr>
                      <p:cNvPr id="51" name="Rectangle 887">
                        <a:extLst>
                          <a:ext uri="{FF2B5EF4-FFF2-40B4-BE49-F238E27FC236}">
                            <a16:creationId xmlns:a16="http://schemas.microsoft.com/office/drawing/2014/main" xmlns="" id="{050BFBC4-282F-684B-B76D-E850ED405459}"/>
                          </a:ext>
                        </a:extLst>
                      </p:cNvPr>
                      <p:cNvSpPr>
                        <a:spLocks noChangeArrowheads="1"/>
                      </p:cNvSpPr>
                      <p:nvPr userDrawn="1"/>
                    </p:nvSpPr>
                    <p:spPr bwMode="auto">
                      <a:xfrm>
                        <a:off x="5298" y="1771"/>
                        <a:ext cx="228" cy="643"/>
                      </a:xfrm>
                      <a:prstGeom prst="rect">
                        <a:avLst/>
                      </a:prstGeom>
                      <a:gradFill flip="none" rotWithShape="1">
                        <a:gsLst>
                          <a:gs pos="0">
                            <a:srgbClr val="B80004"/>
                          </a:gs>
                          <a:gs pos="100000">
                            <a:srgbClr val="FF0000"/>
                          </a:gs>
                        </a:gsLst>
                        <a:lin ang="16200000" scaled="1"/>
                        <a:tileRect/>
                      </a:gradFill>
                      <a:ln w="0">
                        <a:noFill/>
                        <a:prstDash val="solid"/>
                        <a:miter lim="800000"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  <p:sp>
                    <p:nvSpPr>
                      <p:cNvPr id="52" name="Freeform 888">
                        <a:extLst>
                          <a:ext uri="{FF2B5EF4-FFF2-40B4-BE49-F238E27FC236}">
                            <a16:creationId xmlns:a16="http://schemas.microsoft.com/office/drawing/2014/main" xmlns="" id="{A81C3361-4639-CF40-8EB7-6D2C512C09CC}"/>
                          </a:ext>
                        </a:extLst>
                      </p:cNvPr>
                      <p:cNvSpPr>
                        <a:spLocks/>
                      </p:cNvSpPr>
                      <p:nvPr userDrawn="1"/>
                    </p:nvSpPr>
                    <p:spPr bwMode="auto">
                      <a:xfrm>
                        <a:off x="5526" y="1686"/>
                        <a:ext cx="85" cy="727"/>
                      </a:xfrm>
                      <a:custGeom>
                        <a:avLst/>
                        <a:gdLst>
                          <a:gd name="T0" fmla="*/ 342 w 342"/>
                          <a:gd name="T1" fmla="*/ 0 h 2911"/>
                          <a:gd name="T2" fmla="*/ 342 w 342"/>
                          <a:gd name="T3" fmla="*/ 2477 h 2911"/>
                          <a:gd name="T4" fmla="*/ 0 w 342"/>
                          <a:gd name="T5" fmla="*/ 2911 h 2911"/>
                          <a:gd name="T6" fmla="*/ 0 w 342"/>
                          <a:gd name="T7" fmla="*/ 334 h 2911"/>
                          <a:gd name="T8" fmla="*/ 342 w 342"/>
                          <a:gd name="T9" fmla="*/ 0 h 2911"/>
                        </a:gdLst>
                        <a:ahLst/>
                        <a:cxnLst>
                          <a:cxn ang="0">
                            <a:pos x="T0" y="T1"/>
                          </a:cxn>
                          <a:cxn ang="0">
                            <a:pos x="T2" y="T3"/>
                          </a:cxn>
                          <a:cxn ang="0">
                            <a:pos x="T4" y="T5"/>
                          </a:cxn>
                          <a:cxn ang="0">
                            <a:pos x="T6" y="T7"/>
                          </a:cxn>
                          <a:cxn ang="0">
                            <a:pos x="T8" y="T9"/>
                          </a:cxn>
                        </a:cxnLst>
                        <a:rect l="0" t="0" r="r" b="b"/>
                        <a:pathLst>
                          <a:path w="342" h="2911">
                            <a:moveTo>
                              <a:pt x="342" y="0"/>
                            </a:moveTo>
                            <a:lnTo>
                              <a:pt x="342" y="2477"/>
                            </a:lnTo>
                            <a:lnTo>
                              <a:pt x="0" y="2911"/>
                            </a:lnTo>
                            <a:lnTo>
                              <a:pt x="0" y="334"/>
                            </a:lnTo>
                            <a:lnTo>
                              <a:pt x="342" y="0"/>
                            </a:lnTo>
                            <a:close/>
                          </a:path>
                        </a:pathLst>
                      </a:custGeom>
                      <a:solidFill>
                        <a:srgbClr val="C2001B"/>
                      </a:solidFill>
                      <a:ln w="0">
                        <a:noFill/>
                        <a:prstDash val="solid"/>
                        <a:round/>
                        <a:headEnd/>
                        <a:tailEnd/>
                      </a:ln>
                    </p:spPr>
                    <p:txBody>
                      <a:bodyPr vert="horz" wrap="square" lIns="91440" tIns="45720" rIns="91440" bIns="45720" numCol="1" anchor="t" anchorCtr="0" compatLnSpc="1">
                        <a:prstTxWarp prst="textNoShape">
                          <a:avLst/>
                        </a:prstTxWarp>
                      </a:bodyPr>
                      <a:lstStyle>
                        <a:defPPr>
                          <a:defRPr lang="nl-NL"/>
                        </a:defPPr>
                        <a:lvl1pPr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1pPr>
                        <a:lvl2pPr marL="4572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2pPr>
                        <a:lvl3pPr marL="9144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3pPr>
                        <a:lvl4pPr marL="13716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4pPr>
                        <a:lvl5pPr marL="1828800" algn="l" rtl="0" fontAlgn="base">
                          <a:spcBef>
                            <a:spcPct val="0"/>
                          </a:spcBef>
                          <a:spcAft>
                            <a:spcPct val="0"/>
                          </a:spcAft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5pPr>
                        <a:lvl6pPr marL="22860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6pPr>
                        <a:lvl7pPr marL="27432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7pPr>
                        <a:lvl8pPr marL="32004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8pPr>
                        <a:lvl9pPr marL="3657600" algn="l" defTabSz="914400" rtl="0" eaLnBrk="1" latinLnBrk="0" hangingPunct="1">
                          <a:defRPr kern="1200">
                            <a:solidFill>
                              <a:schemeClr val="tx1"/>
                            </a:solidFill>
                            <a:latin typeface="Arial" charset="0"/>
                            <a:ea typeface="+mn-ea"/>
                            <a:cs typeface="Arial" charset="0"/>
                          </a:defRPr>
                        </a:lvl9pPr>
                      </a:lstStyle>
                      <a:p>
                        <a:pPr marL="0" marR="0" lvl="0" indent="0" defTabSz="91440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nl-NL" sz="16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Adobe Heiti Std R" panose="020B0400000000000000" pitchFamily="34" charset="-128"/>
                          <a:cs typeface="Segoe UI Light" panose="020B0502040204020203" pitchFamily="34" charset="0"/>
                        </a:endParaRPr>
                      </a:p>
                    </p:txBody>
                  </p:sp>
                </p:grpSp>
                <p:sp>
                  <p:nvSpPr>
                    <p:cNvPr id="43" name="Vrije vorm 42">
                      <a:extLst>
                        <a:ext uri="{FF2B5EF4-FFF2-40B4-BE49-F238E27FC236}">
                          <a16:creationId xmlns:a16="http://schemas.microsoft.com/office/drawing/2014/main" xmlns="" id="{04C238F4-1281-694C-8E36-336A1233E43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1389225" y="1241176"/>
                      <a:ext cx="506025" cy="137883"/>
                    </a:xfrm>
                    <a:custGeom>
                      <a:avLst/>
                      <a:gdLst>
                        <a:gd name="connsiteX0" fmla="*/ 0 w 508407"/>
                        <a:gd name="connsiteY0" fmla="*/ 142646 h 146304"/>
                        <a:gd name="connsiteX1" fmla="*/ 369418 w 508407"/>
                        <a:gd name="connsiteY1" fmla="*/ 146304 h 146304"/>
                        <a:gd name="connsiteX2" fmla="*/ 508407 w 508407"/>
                        <a:gd name="connsiteY2" fmla="*/ 0 h 146304"/>
                        <a:gd name="connsiteX3" fmla="*/ 168250 w 508407"/>
                        <a:gd name="connsiteY3" fmla="*/ 0 h 146304"/>
                        <a:gd name="connsiteX4" fmla="*/ 0 w 508407"/>
                        <a:gd name="connsiteY4" fmla="*/ 142646 h 146304"/>
                        <a:gd name="connsiteX0" fmla="*/ 0 w 508407"/>
                        <a:gd name="connsiteY0" fmla="*/ 142646 h 142646"/>
                        <a:gd name="connsiteX1" fmla="*/ 376562 w 508407"/>
                        <a:gd name="connsiteY1" fmla="*/ 136779 h 142646"/>
                        <a:gd name="connsiteX2" fmla="*/ 508407 w 508407"/>
                        <a:gd name="connsiteY2" fmla="*/ 0 h 142646"/>
                        <a:gd name="connsiteX3" fmla="*/ 168250 w 508407"/>
                        <a:gd name="connsiteY3" fmla="*/ 0 h 142646"/>
                        <a:gd name="connsiteX4" fmla="*/ 0 w 508407"/>
                        <a:gd name="connsiteY4" fmla="*/ 142646 h 142646"/>
                        <a:gd name="connsiteX0" fmla="*/ 0 w 506025"/>
                        <a:gd name="connsiteY0" fmla="*/ 137883 h 137883"/>
                        <a:gd name="connsiteX1" fmla="*/ 374180 w 506025"/>
                        <a:gd name="connsiteY1" fmla="*/ 136779 h 137883"/>
                        <a:gd name="connsiteX2" fmla="*/ 506025 w 506025"/>
                        <a:gd name="connsiteY2" fmla="*/ 0 h 137883"/>
                        <a:gd name="connsiteX3" fmla="*/ 165868 w 506025"/>
                        <a:gd name="connsiteY3" fmla="*/ 0 h 137883"/>
                        <a:gd name="connsiteX4" fmla="*/ 0 w 506025"/>
                        <a:gd name="connsiteY4" fmla="*/ 137883 h 1378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06025" h="137883">
                          <a:moveTo>
                            <a:pt x="0" y="137883"/>
                          </a:moveTo>
                          <a:lnTo>
                            <a:pt x="374180" y="136779"/>
                          </a:lnTo>
                          <a:lnTo>
                            <a:pt x="506025" y="0"/>
                          </a:lnTo>
                          <a:lnTo>
                            <a:pt x="165868" y="0"/>
                          </a:lnTo>
                          <a:lnTo>
                            <a:pt x="0" y="137883"/>
                          </a:lnTo>
                          <a:close/>
                        </a:path>
                      </a:pathLst>
                    </a:custGeom>
                    <a:solidFill>
                      <a:srgbClr val="C00000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>
                      <a:defPPr>
                        <a:defRPr lang="nl-NL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1pPr>
                      <a:lvl2pPr marL="4572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2pPr>
                      <a:lvl3pPr marL="9144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3pPr>
                      <a:lvl4pPr marL="13716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4pPr>
                      <a:lvl5pPr marL="1828800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5pPr>
                      <a:lvl6pPr marL="22860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6pPr>
                      <a:lvl7pPr marL="27432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7pPr>
                      <a:lvl8pPr marL="32004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8pPr>
                      <a:lvl9pPr marL="3657600" algn="l" defTabSz="914400" rtl="0" eaLnBrk="1" latinLnBrk="0" hangingPunct="1">
                        <a:defRPr kern="1200">
                          <a:solidFill>
                            <a:schemeClr val="tx1"/>
                          </a:solidFill>
                          <a:latin typeface="Arial" charset="0"/>
                          <a:ea typeface="+mn-ea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600" b="0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</p:grpSp>
            </p:grpSp>
            <p:grpSp>
              <p:nvGrpSpPr>
                <p:cNvPr id="23" name="Groep 22">
                  <a:extLst>
                    <a:ext uri="{FF2B5EF4-FFF2-40B4-BE49-F238E27FC236}">
                      <a16:creationId xmlns:a16="http://schemas.microsoft.com/office/drawing/2014/main" xmlns="" id="{38B7E457-CF54-2241-A520-083A2D1C6349}"/>
                    </a:ext>
                  </a:extLst>
                </p:cNvPr>
                <p:cNvGrpSpPr/>
                <p:nvPr/>
              </p:nvGrpSpPr>
              <p:grpSpPr>
                <a:xfrm>
                  <a:off x="12468521" y="6356844"/>
                  <a:ext cx="133446" cy="114786"/>
                  <a:chOff x="14587469" y="6356844"/>
                  <a:chExt cx="133446" cy="114786"/>
                </a:xfrm>
              </p:grpSpPr>
              <p:sp>
                <p:nvSpPr>
                  <p:cNvPr id="29" name="Rectangle 6">
                    <a:extLst>
                      <a:ext uri="{FF2B5EF4-FFF2-40B4-BE49-F238E27FC236}">
                        <a16:creationId xmlns:a16="http://schemas.microsoft.com/office/drawing/2014/main" xmlns="" id="{52D739EB-3263-2B4E-8E83-7ADF750EE96E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4588703" y="6379233"/>
                    <a:ext cx="130780" cy="91699"/>
                  </a:xfrm>
                  <a:prstGeom prst="rect">
                    <a:avLst/>
                  </a:prstGeom>
                  <a:solidFill>
                    <a:srgbClr val="F2FAFF"/>
                  </a:solidFill>
                  <a:ln w="0">
                    <a:solidFill>
                      <a:schemeClr val="bg2">
                        <a:lumMod val="50000"/>
                      </a:schemeClr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l-NL" sz="1800" dirty="0"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30" name="Rectangle 15">
                    <a:extLst>
                      <a:ext uri="{FF2B5EF4-FFF2-40B4-BE49-F238E27FC236}">
                        <a16:creationId xmlns:a16="http://schemas.microsoft.com/office/drawing/2014/main" xmlns="" id="{4BB030D3-DBBA-B94B-B068-67DB78F7B68C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4587469" y="6423761"/>
                    <a:ext cx="131076" cy="1446"/>
                  </a:xfrm>
                  <a:prstGeom prst="rect">
                    <a:avLst/>
                  </a:prstGeom>
                  <a:gradFill flip="none" rotWithShape="1">
                    <a:gsLst>
                      <a:gs pos="20000">
                        <a:srgbClr val="0039AC"/>
                      </a:gs>
                      <a:gs pos="100000">
                        <a:srgbClr val="90B6FE"/>
                      </a:gs>
                    </a:gsLst>
                    <a:lin ang="108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l-NL" sz="1800" dirty="0"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sp>
                <p:nvSpPr>
                  <p:cNvPr id="31" name="Freeform 14">
                    <a:extLst>
                      <a:ext uri="{FF2B5EF4-FFF2-40B4-BE49-F238E27FC236}">
                        <a16:creationId xmlns:a16="http://schemas.microsoft.com/office/drawing/2014/main" xmlns="" id="{DD9607DE-E2FC-D24A-982D-54C4223A4A6C}"/>
                      </a:ext>
                    </a:extLst>
                  </p:cNvPr>
                  <p:cNvSpPr>
                    <a:spLocks noEditPoints="1"/>
                  </p:cNvSpPr>
                  <p:nvPr userDrawn="1"/>
                </p:nvSpPr>
                <p:spPr bwMode="auto">
                  <a:xfrm>
                    <a:off x="14588901" y="6356844"/>
                    <a:ext cx="132014" cy="114786"/>
                  </a:xfrm>
                  <a:custGeom>
                    <a:avLst/>
                    <a:gdLst>
                      <a:gd name="T0" fmla="*/ 48 w 5347"/>
                      <a:gd name="T1" fmla="*/ 48 h 4605"/>
                      <a:gd name="T2" fmla="*/ 48 w 5347"/>
                      <a:gd name="T3" fmla="*/ 4557 h 4605"/>
                      <a:gd name="T4" fmla="*/ 5299 w 5347"/>
                      <a:gd name="T5" fmla="*/ 4557 h 4605"/>
                      <a:gd name="T6" fmla="*/ 5299 w 5347"/>
                      <a:gd name="T7" fmla="*/ 48 h 4605"/>
                      <a:gd name="T8" fmla="*/ 48 w 5347"/>
                      <a:gd name="T9" fmla="*/ 48 h 4605"/>
                      <a:gd name="T10" fmla="*/ 0 w 5347"/>
                      <a:gd name="T11" fmla="*/ 0 h 4605"/>
                      <a:gd name="T12" fmla="*/ 5347 w 5347"/>
                      <a:gd name="T13" fmla="*/ 0 h 4605"/>
                      <a:gd name="T14" fmla="*/ 5347 w 5347"/>
                      <a:gd name="T15" fmla="*/ 4605 h 4605"/>
                      <a:gd name="T16" fmla="*/ 0 w 5347"/>
                      <a:gd name="T17" fmla="*/ 4605 h 4605"/>
                      <a:gd name="T18" fmla="*/ 0 w 5347"/>
                      <a:gd name="T19" fmla="*/ 0 h 460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5347" h="4605">
                        <a:moveTo>
                          <a:pt x="48" y="48"/>
                        </a:moveTo>
                        <a:lnTo>
                          <a:pt x="48" y="4557"/>
                        </a:lnTo>
                        <a:lnTo>
                          <a:pt x="5299" y="4557"/>
                        </a:lnTo>
                        <a:lnTo>
                          <a:pt x="5299" y="48"/>
                        </a:lnTo>
                        <a:lnTo>
                          <a:pt x="48" y="48"/>
                        </a:lnTo>
                        <a:close/>
                        <a:moveTo>
                          <a:pt x="0" y="0"/>
                        </a:moveTo>
                        <a:lnTo>
                          <a:pt x="5347" y="0"/>
                        </a:lnTo>
                        <a:lnTo>
                          <a:pt x="5347" y="4605"/>
                        </a:lnTo>
                        <a:lnTo>
                          <a:pt x="0" y="460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2E5D88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l-NL" sz="1800" dirty="0"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cxnSp>
                <p:nvCxnSpPr>
                  <p:cNvPr id="32" name="Rechte verbindingslijn 31">
                    <a:extLst>
                      <a:ext uri="{FF2B5EF4-FFF2-40B4-BE49-F238E27FC236}">
                        <a16:creationId xmlns:a16="http://schemas.microsoft.com/office/drawing/2014/main" xmlns="" id="{CE7D36CA-49BF-4042-AAE4-455D39AC7758}"/>
                      </a:ext>
                    </a:extLst>
                  </p:cNvPr>
                  <p:cNvCxnSpPr/>
                  <p:nvPr userDrawn="1"/>
                </p:nvCxnSpPr>
                <p:spPr>
                  <a:xfrm flipH="1">
                    <a:off x="14654334" y="6382168"/>
                    <a:ext cx="162" cy="86498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3" name="Rechte verbindingslijn 32">
                    <a:extLst>
                      <a:ext uri="{FF2B5EF4-FFF2-40B4-BE49-F238E27FC236}">
                        <a16:creationId xmlns:a16="http://schemas.microsoft.com/office/drawing/2014/main" xmlns="" id="{A9C92226-7FBF-7D4B-AB53-76BCD344439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14689188" y="6382168"/>
                    <a:ext cx="0" cy="86498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4" name="Rechte verbindingslijn 33">
                    <a:extLst>
                      <a:ext uri="{FF2B5EF4-FFF2-40B4-BE49-F238E27FC236}">
                        <a16:creationId xmlns:a16="http://schemas.microsoft.com/office/drawing/2014/main" xmlns="" id="{AF9BF101-240A-8848-822D-D8970C192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14619892" y="6382040"/>
                    <a:ext cx="0" cy="85778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5" name="Rechte verbindingslijn 34">
                    <a:extLst>
                      <a:ext uri="{FF2B5EF4-FFF2-40B4-BE49-F238E27FC236}">
                        <a16:creationId xmlns:a16="http://schemas.microsoft.com/office/drawing/2014/main" xmlns="" id="{6E6F15AC-8FC2-7B4F-82DD-55860A580CCC}"/>
                      </a:ext>
                    </a:extLst>
                  </p:cNvPr>
                  <p:cNvCxnSpPr/>
                  <p:nvPr userDrawn="1"/>
                </p:nvCxnSpPr>
                <p:spPr>
                  <a:xfrm flipH="1">
                    <a:off x="14593115" y="6400164"/>
                    <a:ext cx="121981" cy="0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" name="Rechte verbindingslijn 36">
                    <a:extLst>
                      <a:ext uri="{FF2B5EF4-FFF2-40B4-BE49-F238E27FC236}">
                        <a16:creationId xmlns:a16="http://schemas.microsoft.com/office/drawing/2014/main" xmlns="" id="{925CEF21-3392-4241-BC80-C0341C4D9BC8}"/>
                      </a:ext>
                    </a:extLst>
                  </p:cNvPr>
                  <p:cNvCxnSpPr/>
                  <p:nvPr userDrawn="1"/>
                </p:nvCxnSpPr>
                <p:spPr>
                  <a:xfrm flipH="1">
                    <a:off x="14593115" y="6423860"/>
                    <a:ext cx="121981" cy="0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8" name="Rechte verbindingslijn 37">
                    <a:extLst>
                      <a:ext uri="{FF2B5EF4-FFF2-40B4-BE49-F238E27FC236}">
                        <a16:creationId xmlns:a16="http://schemas.microsoft.com/office/drawing/2014/main" xmlns="" id="{B7F921CF-51FA-E240-8CA7-874CA3492EE8}"/>
                      </a:ext>
                    </a:extLst>
                  </p:cNvPr>
                  <p:cNvCxnSpPr/>
                  <p:nvPr userDrawn="1"/>
                </p:nvCxnSpPr>
                <p:spPr>
                  <a:xfrm flipH="1">
                    <a:off x="14593115" y="6447556"/>
                    <a:ext cx="121981" cy="0"/>
                  </a:xfrm>
                  <a:prstGeom prst="line">
                    <a:avLst/>
                  </a:prstGeom>
                  <a:ln w="3175">
                    <a:solidFill>
                      <a:schemeClr val="bg2">
                        <a:lumMod val="9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39" name="Rectangle 13">
                    <a:extLst>
                      <a:ext uri="{FF2B5EF4-FFF2-40B4-BE49-F238E27FC236}">
                        <a16:creationId xmlns:a16="http://schemas.microsoft.com/office/drawing/2014/main" xmlns="" id="{52E8AC02-7F1F-1248-B6EC-6C37A7E6BDA8}"/>
                      </a:ext>
                    </a:extLst>
                  </p:cNvPr>
                  <p:cNvSpPr>
                    <a:spLocks noChangeArrowheads="1"/>
                  </p:cNvSpPr>
                  <p:nvPr userDrawn="1"/>
                </p:nvSpPr>
                <p:spPr bwMode="auto">
                  <a:xfrm>
                    <a:off x="14590283" y="6359138"/>
                    <a:ext cx="128657" cy="19347"/>
                  </a:xfrm>
                  <a:prstGeom prst="rect">
                    <a:avLst/>
                  </a:prstGeom>
                  <a:gradFill flip="none" rotWithShape="1">
                    <a:gsLst>
                      <a:gs pos="0">
                        <a:srgbClr val="1929FF"/>
                      </a:gs>
                      <a:gs pos="100000">
                        <a:srgbClr val="90B6FE"/>
                      </a:gs>
                    </a:gsLst>
                    <a:lin ang="10800000" scaled="1"/>
                    <a:tileRect/>
                  </a:gradFill>
                  <a:ln w="0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nl-NL" sz="1800" dirty="0"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</p:grpSp>
            <p:grpSp>
              <p:nvGrpSpPr>
                <p:cNvPr id="24" name="Groep 23">
                  <a:extLst>
                    <a:ext uri="{FF2B5EF4-FFF2-40B4-BE49-F238E27FC236}">
                      <a16:creationId xmlns:a16="http://schemas.microsoft.com/office/drawing/2014/main" xmlns="" id="{CD2EA610-99E1-2B43-9BB4-D4595E0D9EC7}"/>
                    </a:ext>
                  </a:extLst>
                </p:cNvPr>
                <p:cNvGrpSpPr/>
                <p:nvPr/>
              </p:nvGrpSpPr>
              <p:grpSpPr>
                <a:xfrm>
                  <a:off x="12529899" y="6421402"/>
                  <a:ext cx="97399" cy="97399"/>
                  <a:chOff x="14546483" y="5323041"/>
                  <a:chExt cx="242460" cy="242460"/>
                </a:xfrm>
              </p:grpSpPr>
              <p:sp>
                <p:nvSpPr>
                  <p:cNvPr id="25" name="Rechthoek 24">
                    <a:extLst>
                      <a:ext uri="{FF2B5EF4-FFF2-40B4-BE49-F238E27FC236}">
                        <a16:creationId xmlns:a16="http://schemas.microsoft.com/office/drawing/2014/main" xmlns="" id="{A9F47144-9A8A-7543-BCA8-6863F94928F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4546483" y="5323041"/>
                    <a:ext cx="242460" cy="242460"/>
                  </a:xfrm>
                  <a:prstGeom prst="rect">
                    <a:avLst/>
                  </a:prstGeom>
                  <a:solidFill>
                    <a:schemeClr val="bg1"/>
                  </a:solidFill>
                  <a:ln w="6350">
                    <a:solidFill>
                      <a:srgbClr val="00A4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nl-NL" dirty="0">
                      <a:ea typeface="Adobe Heiti Std R" panose="020B0400000000000000" pitchFamily="34" charset="-128"/>
                      <a:cs typeface="Segoe UI Light" panose="020B0502040204020203" pitchFamily="34" charset="0"/>
                    </a:endParaRPr>
                  </a:p>
                </p:txBody>
              </p:sp>
              <p:grpSp>
                <p:nvGrpSpPr>
                  <p:cNvPr id="26" name="Groep 25">
                    <a:extLst>
                      <a:ext uri="{FF2B5EF4-FFF2-40B4-BE49-F238E27FC236}">
                        <a16:creationId xmlns:a16="http://schemas.microsoft.com/office/drawing/2014/main" xmlns="" id="{DE5A2700-DE71-4F48-B067-35FE324D5048}"/>
                      </a:ext>
                    </a:extLst>
                  </p:cNvPr>
                  <p:cNvGrpSpPr/>
                  <p:nvPr/>
                </p:nvGrpSpPr>
                <p:grpSpPr>
                  <a:xfrm>
                    <a:off x="14568035" y="5357818"/>
                    <a:ext cx="199836" cy="175226"/>
                    <a:chOff x="14559757" y="5349611"/>
                    <a:chExt cx="216392" cy="191641"/>
                  </a:xfrm>
                </p:grpSpPr>
                <p:sp>
                  <p:nvSpPr>
                    <p:cNvPr id="27" name="Parallellogram 26">
                      <a:extLst>
                        <a:ext uri="{FF2B5EF4-FFF2-40B4-BE49-F238E27FC236}">
                          <a16:creationId xmlns:a16="http://schemas.microsoft.com/office/drawing/2014/main" xmlns="" id="{1BEF17FE-8268-9C45-882C-45D544BCEED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59757" y="5369222"/>
                      <a:ext cx="214316" cy="147762"/>
                    </a:xfrm>
                    <a:prstGeom prst="parallelogram">
                      <a:avLst>
                        <a:gd name="adj" fmla="val 93909"/>
                      </a:avLst>
                    </a:prstGeom>
                    <a:solidFill>
                      <a:srgbClr val="00A40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dirty="0"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  <p:sp>
                  <p:nvSpPr>
                    <p:cNvPr id="28" name="Parallellogram 27">
                      <a:extLst>
                        <a:ext uri="{FF2B5EF4-FFF2-40B4-BE49-F238E27FC236}">
                          <a16:creationId xmlns:a16="http://schemas.microsoft.com/office/drawing/2014/main" xmlns="" id="{F9880D52-F4BB-8440-81E6-673A1891505D}"/>
                        </a:ext>
                      </a:extLst>
                    </p:cNvPr>
                    <p:cNvSpPr/>
                    <p:nvPr/>
                  </p:nvSpPr>
                  <p:spPr>
                    <a:xfrm flipH="1">
                      <a:off x="14561833" y="5349611"/>
                      <a:ext cx="214316" cy="191641"/>
                    </a:xfrm>
                    <a:prstGeom prst="parallelogram">
                      <a:avLst>
                        <a:gd name="adj" fmla="val 68946"/>
                      </a:avLst>
                    </a:prstGeom>
                    <a:solidFill>
                      <a:srgbClr val="00A40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l-NL" dirty="0">
                        <a:ea typeface="Adobe Heiti Std R" panose="020B0400000000000000" pitchFamily="34" charset="-128"/>
                        <a:cs typeface="Segoe UI Light" panose="020B0502040204020203" pitchFamily="34" charset="0"/>
                      </a:endParaRPr>
                    </a:p>
                  </p:txBody>
                </p:sp>
              </p:grpSp>
            </p:grpSp>
          </p:grpSp>
        </p:grpSp>
      </p:grpSp>
      <p:graphicFrame>
        <p:nvGraphicFramePr>
          <p:cNvPr id="70" name="Object 5">
            <a:extLst>
              <a:ext uri="{FF2B5EF4-FFF2-40B4-BE49-F238E27FC236}">
                <a16:creationId xmlns:a16="http://schemas.microsoft.com/office/drawing/2014/main" xmlns="" id="{CDEE141C-0791-A640-B4EA-C34B5C9367A4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046932882"/>
              </p:ext>
            </p:extLst>
          </p:nvPr>
        </p:nvGraphicFramePr>
        <p:xfrm>
          <a:off x="465958" y="2177760"/>
          <a:ext cx="11235553" cy="3603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36601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7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2" dur="2000"/>
                                        <p:tgtEl>
                                          <p:spTgt spid="70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7" dur="2000"/>
                                        <p:tgtEl>
                                          <p:spTgt spid="70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2" dur="2000"/>
                                        <p:tgtEl>
                                          <p:spTgt spid="70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7" dur="2000"/>
                                        <p:tgtEl>
                                          <p:spTgt spid="70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0" grpId="0">
        <p:bldSub>
          <a:bldChart bld="category"/>
        </p:bldSub>
      </p:bldGraphic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i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xmlns="" id="{84A1EEEE-7322-4B46-BD9D-E4AAD6CA9E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64407" y="331511"/>
            <a:ext cx="10405368" cy="6526489"/>
          </a:xfrm>
          <a:prstGeom prst="rect">
            <a:avLst/>
          </a:prstGeom>
        </p:spPr>
      </p:pic>
      <p:sp>
        <p:nvSpPr>
          <p:cNvPr id="49" name="Tekstvak 48"/>
          <p:cNvSpPr txBox="1"/>
          <p:nvPr userDrawn="1"/>
        </p:nvSpPr>
        <p:spPr>
          <a:xfrm>
            <a:off x="-85057" y="-437946"/>
            <a:ext cx="41537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0" i="0" dirty="0">
                <a:solidFill>
                  <a:schemeClr val="accent5"/>
                </a:solidFill>
                <a:latin typeface="Arial"/>
                <a:cs typeface="Arial"/>
              </a:rPr>
              <a:t>EINDSHEET</a:t>
            </a: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xmlns="" id="{3E2B6833-EB7F-9342-B44B-2AFB096BD566}"/>
              </a:ext>
            </a:extLst>
          </p:cNvPr>
          <p:cNvSpPr txBox="1"/>
          <p:nvPr userDrawn="1"/>
        </p:nvSpPr>
        <p:spPr>
          <a:xfrm>
            <a:off x="4860751" y="3212976"/>
            <a:ext cx="832727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dankt </a:t>
            </a:r>
            <a:r>
              <a:rPr lang="nl-NL" sz="48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or uw</a:t>
            </a:r>
            <a:endParaRPr lang="nl-NL" sz="48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nl-NL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andacht!</a:t>
            </a:r>
          </a:p>
        </p:txBody>
      </p:sp>
      <p:sp>
        <p:nvSpPr>
          <p:cNvPr id="9" name="Tijdelijke aanduiding voor datum 2">
            <a:extLst>
              <a:ext uri="{FF2B5EF4-FFF2-40B4-BE49-F238E27FC236}">
                <a16:creationId xmlns:a16="http://schemas.microsoft.com/office/drawing/2014/main" xmlns="" id="{4D741685-E8E6-2B41-A80A-351E140AD9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5F99892-4506-0A48-88C8-2CF803D7678D}" type="datetime1">
              <a:rPr lang="nl-NL" smtClean="0"/>
              <a:t>29-4-2019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165124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8360513"/>
              </p:ext>
            </p:extLst>
          </p:nvPr>
        </p:nvGraphicFramePr>
        <p:xfrm>
          <a:off x="2118" y="1589"/>
          <a:ext cx="2112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2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nl-NL" dirty="0"/>
              <a:t>Energieopslag, het kan fout gaan</a:t>
            </a:r>
          </a:p>
        </p:txBody>
      </p:sp>
    </p:spTree>
    <p:extLst>
      <p:ext uri="{BB962C8B-B14F-4D97-AF65-F5344CB8AC3E}">
        <p14:creationId xmlns:p14="http://schemas.microsoft.com/office/powerpoint/2010/main" val="1920930294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pening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xmlns="" id="{FF773D50-55BA-A547-BB5C-CD0EC05126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8263" y="764704"/>
            <a:ext cx="11233248" cy="5832648"/>
          </a:xfrm>
          <a:prstGeom prst="rect">
            <a:avLst/>
          </a:prstGeom>
        </p:spPr>
      </p:pic>
      <p:sp>
        <p:nvSpPr>
          <p:cNvPr id="12" name="Tijdelijke aanduiding voor datum 2">
            <a:extLst>
              <a:ext uri="{FF2B5EF4-FFF2-40B4-BE49-F238E27FC236}">
                <a16:creationId xmlns:a16="http://schemas.microsoft.com/office/drawing/2014/main" xmlns="" id="{AA6051EB-960F-A947-8376-2AECDFCDCD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486F7A4-2E62-614F-BF3D-8A84619BAF9C}" type="datetime1">
              <a:rPr lang="nl-NL" smtClean="0"/>
              <a:t>29-4-2019</a:t>
            </a:fld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xmlns="" id="{9457B4BC-D91B-3E45-9FB6-232970B7CA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36912"/>
            <a:ext cx="6336704" cy="3960440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xmlns="" id="{FCA1A661-F400-EB43-B08F-A21BC6D8B5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22824"/>
            <a:ext cx="6336704" cy="3974528"/>
          </a:xfrm>
          <a:prstGeom prst="rect">
            <a:avLst/>
          </a:prstGeom>
        </p:spPr>
      </p:pic>
      <p:sp>
        <p:nvSpPr>
          <p:cNvPr id="14" name="Rectangle 119">
            <a:extLst>
              <a:ext uri="{FF2B5EF4-FFF2-40B4-BE49-F238E27FC236}">
                <a16:creationId xmlns:a16="http://schemas.microsoft.com/office/drawing/2014/main" xmlns="" id="{8ADF7950-3B69-5547-B751-E2E2F25C63AF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136117" y="4365104"/>
            <a:ext cx="3989330" cy="720080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ts val="23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sz="24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 noProof="0" dirty="0"/>
              <a:t>Klikken om de titelstijl van het model te bewerken</a:t>
            </a:r>
            <a:endParaRPr lang="en-US" noProof="0" dirty="0"/>
          </a:p>
        </p:txBody>
      </p:sp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xmlns="" id="{46A45E46-8A0B-7647-A3F7-8672E4CFD5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6117" y="5273551"/>
            <a:ext cx="3989330" cy="11077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7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Tekststijl van het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32262028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pening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xmlns="" id="{FF773D50-55BA-A547-BB5C-CD0EC05126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8263" y="764704"/>
            <a:ext cx="11233248" cy="5832648"/>
          </a:xfrm>
          <a:prstGeom prst="rect">
            <a:avLst/>
          </a:prstGeom>
        </p:spPr>
      </p:pic>
      <p:sp>
        <p:nvSpPr>
          <p:cNvPr id="12" name="Tijdelijke aanduiding voor datum 2">
            <a:extLst>
              <a:ext uri="{FF2B5EF4-FFF2-40B4-BE49-F238E27FC236}">
                <a16:creationId xmlns:a16="http://schemas.microsoft.com/office/drawing/2014/main" xmlns="" id="{AA6051EB-960F-A947-8376-2AECDFCDCD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0EB7BAE-36A7-8F44-8A47-8B62A700005B}" type="datetime1">
              <a:rPr lang="nl-NL" smtClean="0"/>
              <a:t>29-4-2019</a:t>
            </a:fld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xmlns="" id="{D0D6B157-393E-5643-90FD-6769AF0AA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36912"/>
            <a:ext cx="6336704" cy="3960440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xmlns="" id="{0B79F447-402A-954C-8E71-3DE09EB4C5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22824"/>
            <a:ext cx="6336704" cy="3974528"/>
          </a:xfrm>
          <a:prstGeom prst="rect">
            <a:avLst/>
          </a:prstGeom>
        </p:spPr>
      </p:pic>
      <p:sp>
        <p:nvSpPr>
          <p:cNvPr id="14" name="Rectangle 119">
            <a:extLst>
              <a:ext uri="{FF2B5EF4-FFF2-40B4-BE49-F238E27FC236}">
                <a16:creationId xmlns:a16="http://schemas.microsoft.com/office/drawing/2014/main" xmlns="" id="{A9C45728-6112-9E48-BE9E-BDD81B60230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136117" y="4365104"/>
            <a:ext cx="3989330" cy="720080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ts val="23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sz="24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 noProof="0" dirty="0"/>
              <a:t>Klikken om de titelstijl van het model te bewerken</a:t>
            </a:r>
            <a:endParaRPr lang="en-US" noProof="0" dirty="0"/>
          </a:p>
        </p:txBody>
      </p:sp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xmlns="" id="{E88FF130-AF69-CB42-9F92-AE0230EE40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6117" y="5273551"/>
            <a:ext cx="3989330" cy="11077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7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Tekststijl van het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16353806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>
            <a:extLst>
              <a:ext uri="{FF2B5EF4-FFF2-40B4-BE49-F238E27FC236}">
                <a16:creationId xmlns:a16="http://schemas.microsoft.com/office/drawing/2014/main" xmlns="" id="{5B2F84F6-D5AF-F443-9CEB-21E371534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8263" y="764704"/>
            <a:ext cx="11233248" cy="5832648"/>
          </a:xfrm>
          <a:prstGeom prst="rect">
            <a:avLst/>
          </a:prstGeom>
        </p:spPr>
      </p:pic>
      <p:sp>
        <p:nvSpPr>
          <p:cNvPr id="10" name="Tijdelijke aanduiding voor datum 2">
            <a:extLst>
              <a:ext uri="{FF2B5EF4-FFF2-40B4-BE49-F238E27FC236}">
                <a16:creationId xmlns:a16="http://schemas.microsoft.com/office/drawing/2014/main" xmlns="" id="{83AEEABF-903E-1448-8FA9-D9E0D7368C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BDA8604-03F2-4544-94B8-FC4AB1855512}" type="datetime1">
              <a:rPr lang="nl-NL" smtClean="0"/>
              <a:t>29-4-2019</a:t>
            </a:fld>
            <a:endParaRPr lang="nl-NL" dirty="0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xmlns="" id="{B454DFB3-ADA7-614E-B93C-7C38F27727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36912"/>
            <a:ext cx="6336704" cy="3960440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xmlns="" id="{BD8BFBFB-6A5F-CA45-B058-CC4EF4783B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22824"/>
            <a:ext cx="6336704" cy="3974528"/>
          </a:xfrm>
          <a:prstGeom prst="rect">
            <a:avLst/>
          </a:prstGeom>
        </p:spPr>
      </p:pic>
      <p:sp>
        <p:nvSpPr>
          <p:cNvPr id="14" name="Rectangle 119">
            <a:extLst>
              <a:ext uri="{FF2B5EF4-FFF2-40B4-BE49-F238E27FC236}">
                <a16:creationId xmlns:a16="http://schemas.microsoft.com/office/drawing/2014/main" xmlns="" id="{1336D893-3CD0-B74D-937F-FEF7B8F9EC26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136117" y="4365104"/>
            <a:ext cx="3989330" cy="720080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ts val="23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sz="24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 noProof="0" dirty="0"/>
              <a:t>Klikken om de titelstijl van het model te bewerken</a:t>
            </a:r>
            <a:endParaRPr lang="en-US" noProof="0" dirty="0"/>
          </a:p>
        </p:txBody>
      </p:sp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xmlns="" id="{61A486A2-04AB-C546-A04D-9F95FEFF339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6117" y="5273551"/>
            <a:ext cx="3989330" cy="11077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7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Tekststijl van het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15925154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xmlns="" id="{1084D95C-1D3F-E548-92BD-3632E020C2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468263" y="764704"/>
            <a:ext cx="11233248" cy="5832648"/>
          </a:xfrm>
          <a:prstGeom prst="rect">
            <a:avLst/>
          </a:prstGeom>
        </p:spPr>
      </p:pic>
      <p:sp>
        <p:nvSpPr>
          <p:cNvPr id="12" name="Tijdelijke aanduiding voor datum 2">
            <a:extLst>
              <a:ext uri="{FF2B5EF4-FFF2-40B4-BE49-F238E27FC236}">
                <a16:creationId xmlns:a16="http://schemas.microsoft.com/office/drawing/2014/main" xmlns="" id="{AB5B68C3-BD69-314C-8283-95AC479B977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2FC86C7-0C6C-A34E-A3B8-1136B4B83B4C}" type="datetime1">
              <a:rPr lang="nl-NL" smtClean="0"/>
              <a:t>29-4-2019</a:t>
            </a:fld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xmlns="" id="{A68750E2-FCB1-D747-90A4-F8806535E7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36912"/>
            <a:ext cx="6336704" cy="3960440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xmlns="" id="{16F10B46-CE74-A146-A69B-74BD0EFD95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22824"/>
            <a:ext cx="6336704" cy="3974528"/>
          </a:xfrm>
          <a:prstGeom prst="rect">
            <a:avLst/>
          </a:prstGeom>
        </p:spPr>
      </p:pic>
      <p:sp>
        <p:nvSpPr>
          <p:cNvPr id="14" name="Rectangle 119">
            <a:extLst>
              <a:ext uri="{FF2B5EF4-FFF2-40B4-BE49-F238E27FC236}">
                <a16:creationId xmlns:a16="http://schemas.microsoft.com/office/drawing/2014/main" xmlns="" id="{F15E904C-AAD0-5844-95C1-F10029B71A45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136117" y="4365104"/>
            <a:ext cx="3989330" cy="720080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ts val="23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sz="24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 noProof="0" dirty="0"/>
              <a:t>Klikken om de titelstijl van het model te bewerken</a:t>
            </a:r>
            <a:endParaRPr lang="en-US" noProof="0" dirty="0"/>
          </a:p>
        </p:txBody>
      </p:sp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xmlns="" id="{FE1F1926-0CE4-7341-B8B9-FD397F3883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6117" y="5273551"/>
            <a:ext cx="3989330" cy="11077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7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Tekststijl van het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31356889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xmlns="" id="{CA523FA5-42BA-914C-9C4E-481CAB8E9B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8263" y="764704"/>
            <a:ext cx="11233248" cy="5832648"/>
          </a:xfrm>
          <a:prstGeom prst="rect">
            <a:avLst/>
          </a:prstGeom>
        </p:spPr>
      </p:pic>
      <p:sp>
        <p:nvSpPr>
          <p:cNvPr id="12" name="Tijdelijke aanduiding voor datum 2">
            <a:extLst>
              <a:ext uri="{FF2B5EF4-FFF2-40B4-BE49-F238E27FC236}">
                <a16:creationId xmlns:a16="http://schemas.microsoft.com/office/drawing/2014/main" xmlns="" id="{CA9A0D33-30F9-4F49-AD35-F3F7E11400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A31AC3E-A302-B54A-B889-FC6F1185201A}" type="datetime1">
              <a:rPr lang="nl-NL" smtClean="0"/>
              <a:t>29-4-2019</a:t>
            </a:fld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xmlns="" id="{BD7703FA-515E-5F4A-BE83-4B65C08951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36912"/>
            <a:ext cx="6336704" cy="3960440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xmlns="" id="{5F62A3D6-55C7-E240-A5AF-46C2D20565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22824"/>
            <a:ext cx="6336704" cy="3974528"/>
          </a:xfrm>
          <a:prstGeom prst="rect">
            <a:avLst/>
          </a:prstGeom>
        </p:spPr>
      </p:pic>
      <p:sp>
        <p:nvSpPr>
          <p:cNvPr id="14" name="Rectangle 119">
            <a:extLst>
              <a:ext uri="{FF2B5EF4-FFF2-40B4-BE49-F238E27FC236}">
                <a16:creationId xmlns:a16="http://schemas.microsoft.com/office/drawing/2014/main" xmlns="" id="{5D9DBD5B-2936-C64C-A62A-F81D4FB60C4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136117" y="4365104"/>
            <a:ext cx="3989330" cy="720080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ts val="23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sz="24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 noProof="0" dirty="0"/>
              <a:t>Klikken om de titelstijl van het model te bewerken</a:t>
            </a:r>
            <a:endParaRPr lang="en-US" noProof="0" dirty="0"/>
          </a:p>
        </p:txBody>
      </p:sp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xmlns="" id="{069A8A3D-4EF1-9D43-B40C-9780C9F136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6117" y="5273551"/>
            <a:ext cx="3989330" cy="11077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7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Tekststijl van het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962524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xmlns="" id="{FF773D50-55BA-A547-BB5C-CD0EC05126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8263" y="764704"/>
            <a:ext cx="11233248" cy="5832648"/>
          </a:xfrm>
          <a:prstGeom prst="rect">
            <a:avLst/>
          </a:prstGeom>
        </p:spPr>
      </p:pic>
      <p:sp>
        <p:nvSpPr>
          <p:cNvPr id="12" name="Tijdelijke aanduiding voor datum 2">
            <a:extLst>
              <a:ext uri="{FF2B5EF4-FFF2-40B4-BE49-F238E27FC236}">
                <a16:creationId xmlns:a16="http://schemas.microsoft.com/office/drawing/2014/main" xmlns="" id="{AA6051EB-960F-A947-8376-2AECDFCDCD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1DE70D6-B15F-3047-8B1B-4ADEF147A958}" type="datetime1">
              <a:rPr lang="nl-NL" smtClean="0"/>
              <a:t>29-4-2019</a:t>
            </a:fld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xmlns="" id="{DDAEF88F-0276-A047-9290-CE4356FA19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36912"/>
            <a:ext cx="6336704" cy="3960440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xmlns="" id="{ADFADFEF-15A6-5E4A-B642-E151AC9ADE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22824"/>
            <a:ext cx="6336704" cy="3974528"/>
          </a:xfrm>
          <a:prstGeom prst="rect">
            <a:avLst/>
          </a:prstGeom>
        </p:spPr>
      </p:pic>
      <p:sp>
        <p:nvSpPr>
          <p:cNvPr id="14" name="Rectangle 119">
            <a:extLst>
              <a:ext uri="{FF2B5EF4-FFF2-40B4-BE49-F238E27FC236}">
                <a16:creationId xmlns:a16="http://schemas.microsoft.com/office/drawing/2014/main" xmlns="" id="{210D3F84-AB32-B64B-A7DB-751A48E00C92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136117" y="4365104"/>
            <a:ext cx="3989330" cy="720080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ts val="23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sz="24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 noProof="0" dirty="0"/>
              <a:t>Klikken om de titelstijl van het model te bewerken</a:t>
            </a:r>
            <a:endParaRPr lang="en-US" noProof="0" dirty="0"/>
          </a:p>
        </p:txBody>
      </p:sp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xmlns="" id="{D6481B3F-4299-D444-9D4A-B2AA3DE698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6117" y="5273551"/>
            <a:ext cx="3989330" cy="11077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7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Tekststijl van het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39958851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pening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xmlns="" id="{FF773D50-55BA-A547-BB5C-CD0EC05126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68263" y="764704"/>
            <a:ext cx="11233248" cy="5832648"/>
          </a:xfrm>
          <a:prstGeom prst="rect">
            <a:avLst/>
          </a:prstGeom>
        </p:spPr>
      </p:pic>
      <p:sp>
        <p:nvSpPr>
          <p:cNvPr id="12" name="Tijdelijke aanduiding voor datum 2">
            <a:extLst>
              <a:ext uri="{FF2B5EF4-FFF2-40B4-BE49-F238E27FC236}">
                <a16:creationId xmlns:a16="http://schemas.microsoft.com/office/drawing/2014/main" xmlns="" id="{AA6051EB-960F-A947-8376-2AECDFCDCD2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B84E881-F619-BB4A-A824-2918C85698F9}" type="datetime1">
              <a:rPr lang="nl-NL" smtClean="0"/>
              <a:t>29-4-2019</a:t>
            </a:fld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xmlns="" id="{3CF02DB1-0AF9-3842-8F0F-14F11DEFC5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36912"/>
            <a:ext cx="6336704" cy="3960440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xmlns="" id="{3D08E93C-69D3-C04E-AAD4-7A58E33F23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64807" y="2622824"/>
            <a:ext cx="6336704" cy="3974528"/>
          </a:xfrm>
          <a:prstGeom prst="rect">
            <a:avLst/>
          </a:prstGeom>
        </p:spPr>
      </p:pic>
      <p:sp>
        <p:nvSpPr>
          <p:cNvPr id="14" name="Rectangle 119">
            <a:extLst>
              <a:ext uri="{FF2B5EF4-FFF2-40B4-BE49-F238E27FC236}">
                <a16:creationId xmlns:a16="http://schemas.microsoft.com/office/drawing/2014/main" xmlns="" id="{72048A30-0859-7E45-ADD1-DF7ADCEA1C85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136117" y="4365104"/>
            <a:ext cx="3989330" cy="720080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ts val="2300"/>
              </a:lnSpc>
              <a:spcBef>
                <a:spcPts val="800"/>
              </a:spcBef>
              <a:spcAft>
                <a:spcPts val="800"/>
              </a:spcAft>
              <a:buFontTx/>
              <a:buNone/>
              <a:defRPr sz="24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l-NL" noProof="0" dirty="0"/>
              <a:t>Klikken om de titelstijl van het model te bewerken</a:t>
            </a:r>
            <a:endParaRPr lang="en-US" noProof="0" dirty="0"/>
          </a:p>
        </p:txBody>
      </p:sp>
      <p:sp>
        <p:nvSpPr>
          <p:cNvPr id="15" name="Tijdelijke aanduiding voor tekst 3">
            <a:extLst>
              <a:ext uri="{FF2B5EF4-FFF2-40B4-BE49-F238E27FC236}">
                <a16:creationId xmlns:a16="http://schemas.microsoft.com/office/drawing/2014/main" xmlns="" id="{34D8E321-AADE-5A44-AF57-3140E3DA5F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36117" y="5273551"/>
            <a:ext cx="3989330" cy="11077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7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Tekststijl van het model bewerken</a:t>
            </a:r>
          </a:p>
        </p:txBody>
      </p:sp>
    </p:spTree>
    <p:extLst>
      <p:ext uri="{BB962C8B-B14F-4D97-AF65-F5344CB8AC3E}">
        <p14:creationId xmlns:p14="http://schemas.microsoft.com/office/powerpoint/2010/main" val="13768883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 hidden="1"/>
          <p:cNvSpPr>
            <a:spLocks noGrp="1"/>
          </p:cNvSpPr>
          <p:nvPr>
            <p:ph type="sldNum" sz="quarter" idx="4"/>
          </p:nvPr>
        </p:nvSpPr>
        <p:spPr>
          <a:xfrm>
            <a:off x="8721672" y="6356351"/>
            <a:ext cx="28396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EB47A6-CBA8-4F99-AA9E-77FC284047B7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0" name="Afbeelding 9" descr="coloredbar.png"/>
          <p:cNvPicPr preferRelativeResize="0">
            <a:picLocks/>
          </p:cNvPicPr>
          <p:nvPr/>
        </p:nvPicPr>
        <p:blipFill rotWithShape="1">
          <a:blip r:embed="rId26"/>
          <a:srcRect/>
          <a:stretch/>
        </p:blipFill>
        <p:spPr>
          <a:xfrm>
            <a:off x="-8147" y="5823266"/>
            <a:ext cx="12204000" cy="36004"/>
          </a:xfrm>
          <a:prstGeom prst="rect">
            <a:avLst/>
          </a:prstGeom>
        </p:spPr>
      </p:pic>
      <p:sp>
        <p:nvSpPr>
          <p:cNvPr id="29" name="Rectangle 6">
            <a:extLst>
              <a:ext uri="{FF2B5EF4-FFF2-40B4-BE49-F238E27FC236}">
                <a16:creationId xmlns:a16="http://schemas.microsoft.com/office/drawing/2014/main" xmlns="" id="{2E734E09-40B9-D345-AF6A-7F67A535B57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197455" y="257151"/>
            <a:ext cx="595784" cy="363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nl-NL"/>
            </a:defPPr>
            <a:lvl1pPr marL="0" algn="r" defTabSz="914400" rtl="0" eaLnBrk="1" latinLnBrk="0" hangingPunct="1"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8F5408C-4539-411E-AEAF-8819EBBD74A2}" type="slidenum">
              <a:rPr lang="nl-NL" smtClean="0">
                <a:solidFill>
                  <a:schemeClr val="accent6"/>
                </a:solidFill>
              </a:rPr>
              <a:pPr/>
              <a:t>‹nr.›</a:t>
            </a:fld>
            <a:endParaRPr lang="nl-NL" dirty="0">
              <a:solidFill>
                <a:schemeClr val="accent6"/>
              </a:solidFill>
            </a:endParaRPr>
          </a:p>
        </p:txBody>
      </p:sp>
      <p:pic>
        <p:nvPicPr>
          <p:cNvPr id="30" name="Afbeelding 29">
            <a:extLst>
              <a:ext uri="{FF2B5EF4-FFF2-40B4-BE49-F238E27FC236}">
                <a16:creationId xmlns:a16="http://schemas.microsoft.com/office/drawing/2014/main" xmlns="" id="{0D2B0190-17DA-4045-B008-4961AB417DCA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958" y="216618"/>
            <a:ext cx="1370457" cy="371475"/>
          </a:xfrm>
          <a:prstGeom prst="rect">
            <a:avLst/>
          </a:prstGeom>
        </p:spPr>
      </p:pic>
      <p:sp>
        <p:nvSpPr>
          <p:cNvPr id="31" name="Rectangle 2">
            <a:extLst>
              <a:ext uri="{FF2B5EF4-FFF2-40B4-BE49-F238E27FC236}">
                <a16:creationId xmlns:a16="http://schemas.microsoft.com/office/drawing/2014/main" xmlns="" id="{1AAF97DE-C029-0C48-A176-EDB86A0C103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5958" y="908721"/>
            <a:ext cx="11235553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dirty="0"/>
              <a:t>Titelstijl van model bewerken</a:t>
            </a:r>
          </a:p>
        </p:txBody>
      </p:sp>
      <p:cxnSp>
        <p:nvCxnSpPr>
          <p:cNvPr id="7" name="Rechte verbindingslijn 6">
            <a:extLst>
              <a:ext uri="{FF2B5EF4-FFF2-40B4-BE49-F238E27FC236}">
                <a16:creationId xmlns:a16="http://schemas.microsoft.com/office/drawing/2014/main" xmlns="" id="{62937561-4025-DD48-880C-3145C4DF4009}"/>
              </a:ext>
            </a:extLst>
          </p:cNvPr>
          <p:cNvCxnSpPr/>
          <p:nvPr userDrawn="1"/>
        </p:nvCxnSpPr>
        <p:spPr>
          <a:xfrm>
            <a:off x="465958" y="764704"/>
            <a:ext cx="1123555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jdelijke aanduiding voor voettekst 1">
            <a:extLst>
              <a:ext uri="{FF2B5EF4-FFF2-40B4-BE49-F238E27FC236}">
                <a16:creationId xmlns:a16="http://schemas.microsoft.com/office/drawing/2014/main" xmlns="" id="{94B701D6-D9CB-C44B-B03B-D2D667FACF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958" y="6304235"/>
            <a:ext cx="1123555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xmlns="" id="{DAFD951C-8DEA-AD49-A0E3-8CF3F47846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85287" y="260648"/>
            <a:ext cx="1368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B7D6A85-8D2B-3844-92CA-685630D644D4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11" name="Tijdelijke aanduiding voor tekst 2">
            <a:extLst>
              <a:ext uri="{FF2B5EF4-FFF2-40B4-BE49-F238E27FC236}">
                <a16:creationId xmlns:a16="http://schemas.microsoft.com/office/drawing/2014/main" xmlns="" id="{F04EE24A-7A0A-0349-876D-0B7B34684A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5958" y="2060848"/>
            <a:ext cx="11235553" cy="388508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3"/>
            <a:r>
              <a:rPr lang="nl-NL" noProof="0" dirty="0"/>
              <a:t>Leestekst</a:t>
            </a:r>
          </a:p>
          <a:p>
            <a:pPr lvl="4"/>
            <a:r>
              <a:rPr lang="nl-NL" noProof="0" dirty="0"/>
              <a:t>Kopje</a:t>
            </a:r>
          </a:p>
          <a:p>
            <a:pPr lvl="5"/>
            <a:r>
              <a:rPr lang="nl-NL" noProof="0" dirty="0" err="1"/>
              <a:t>Bullet</a:t>
            </a:r>
            <a:endParaRPr lang="nl-NL" noProof="0" dirty="0"/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1</a:t>
            </a:r>
          </a:p>
          <a:p>
            <a:pPr lvl="2"/>
            <a:r>
              <a:rPr lang="nl-NL" noProof="0" dirty="0"/>
              <a:t>Sub-</a:t>
            </a:r>
            <a:r>
              <a:rPr lang="nl-NL" noProof="0" dirty="0" err="1"/>
              <a:t>bullet</a:t>
            </a:r>
            <a:r>
              <a:rPr lang="nl-NL" noProof="0" dirty="0"/>
              <a:t> #2</a:t>
            </a:r>
          </a:p>
          <a:p>
            <a:pPr lvl="8"/>
            <a:r>
              <a:rPr lang="nl-NL" noProof="0" dirty="0"/>
              <a:t>Leestekst</a:t>
            </a:r>
          </a:p>
        </p:txBody>
      </p:sp>
    </p:spTree>
    <p:extLst>
      <p:ext uri="{BB962C8B-B14F-4D97-AF65-F5344CB8AC3E}">
        <p14:creationId xmlns:p14="http://schemas.microsoft.com/office/powerpoint/2010/main" val="3845133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49" r:id="rId5"/>
    <p:sldLayoutId id="2147483748" r:id="rId6"/>
    <p:sldLayoutId id="2147483750" r:id="rId7"/>
    <p:sldLayoutId id="2147483756" r:id="rId8"/>
    <p:sldLayoutId id="2147483763" r:id="rId9"/>
    <p:sldLayoutId id="2147483766" r:id="rId10"/>
    <p:sldLayoutId id="2147483686" r:id="rId11"/>
    <p:sldLayoutId id="2147483675" r:id="rId12"/>
    <p:sldLayoutId id="2147483757" r:id="rId13"/>
    <p:sldLayoutId id="2147483758" r:id="rId14"/>
    <p:sldLayoutId id="2147483690" r:id="rId15"/>
    <p:sldLayoutId id="2147483663" r:id="rId16"/>
    <p:sldLayoutId id="2147483694" r:id="rId17"/>
    <p:sldLayoutId id="2147483695" r:id="rId18"/>
    <p:sldLayoutId id="2147483674" r:id="rId19"/>
    <p:sldLayoutId id="2147483754" r:id="rId20"/>
    <p:sldLayoutId id="2147483688" r:id="rId21"/>
    <p:sldLayoutId id="2147483764" r:id="rId22"/>
    <p:sldLayoutId id="2147483689" r:id="rId23"/>
    <p:sldLayoutId id="2147483765" r:id="rId24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Helvetica" pitchFamily="2" charset="0"/>
        <a:buChar char="●"/>
        <a:tabLst/>
        <a:defRPr sz="1700" b="0" i="0" kern="1200">
          <a:solidFill>
            <a:srgbClr val="55555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41338" indent="-225425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rgbClr val="555555"/>
        </a:buClr>
        <a:buSzPct val="75000"/>
        <a:buFont typeface="Helvetica" pitchFamily="2" charset="0"/>
        <a:buChar char="●"/>
        <a:tabLst/>
        <a:defRPr sz="1700" b="0" i="0" kern="1200">
          <a:solidFill>
            <a:srgbClr val="55555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17550" indent="-176213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rgbClr val="555555"/>
        </a:buClr>
        <a:buSzPct val="100000"/>
        <a:buFont typeface="Helvetica" pitchFamily="2" charset="0"/>
        <a:buChar char="⁃"/>
        <a:tabLst/>
        <a:defRPr sz="1700" b="0" i="0" kern="1200">
          <a:solidFill>
            <a:srgbClr val="55555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700" b="0" i="0" kern="1200">
          <a:solidFill>
            <a:srgbClr val="55555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7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69875" indent="-261938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Helvetica" pitchFamily="2" charset="0"/>
        <a:buChar char="●"/>
        <a:tabLst/>
        <a:defRPr sz="1700" b="0" i="0" kern="1200">
          <a:solidFill>
            <a:srgbClr val="55555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541338" indent="-271463" algn="l" defTabSz="914400" rtl="0" eaLnBrk="1" latinLnBrk="0" hangingPunct="1">
        <a:lnSpc>
          <a:spcPts val="1900"/>
        </a:lnSpc>
        <a:spcBef>
          <a:spcPts val="600"/>
        </a:spcBef>
        <a:spcAft>
          <a:spcPts val="600"/>
        </a:spcAft>
        <a:buClr>
          <a:srgbClr val="555555"/>
        </a:buClr>
        <a:buFont typeface="Helvetica" pitchFamily="2" charset="0"/>
        <a:buChar char="●"/>
        <a:tabLst/>
        <a:defRPr sz="1800" b="0" i="0" kern="1200" baseline="0">
          <a:solidFill>
            <a:srgbClr val="555555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7pPr>
      <a:lvl8pPr marL="0" indent="0" algn="l" defTabSz="914400" rtl="0" eaLnBrk="1" latinLnBrk="0" hangingPunct="1">
        <a:lnSpc>
          <a:spcPts val="1900"/>
        </a:lnSpc>
        <a:spcBef>
          <a:spcPts val="600"/>
        </a:spcBef>
        <a:spcAft>
          <a:spcPts val="600"/>
        </a:spcAft>
        <a:buFont typeface="Wingdings" panose="05000000000000000000" pitchFamily="2" charset="2"/>
        <a:buNone/>
        <a:defRPr sz="1800" b="0" i="0" kern="1200">
          <a:solidFill>
            <a:srgbClr val="555555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8pPr>
      <a:lvl9pPr marL="3657600" indent="-36576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700" b="0" i="0" kern="1200">
          <a:solidFill>
            <a:srgbClr val="555555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43.jpeg"/><Relationship Id="rId5" Type="http://schemas.openxmlformats.org/officeDocument/2006/relationships/image" Target="../media/image42.png"/><Relationship Id="rId4" Type="http://schemas.openxmlformats.org/officeDocument/2006/relationships/image" Target="../media/image41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results?search_query=thermal+runaway+lithium+ion+battery" TargetMode="External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31.png"/><Relationship Id="rId7" Type="http://schemas.openxmlformats.org/officeDocument/2006/relationships/diagramLayout" Target="../diagrams/layout1.xm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4.xml"/><Relationship Id="rId6" Type="http://schemas.openxmlformats.org/officeDocument/2006/relationships/diagramData" Target="../diagrams/data1.xml"/><Relationship Id="rId5" Type="http://schemas.openxmlformats.org/officeDocument/2006/relationships/image" Target="../media/image33.png"/><Relationship Id="rId10" Type="http://schemas.microsoft.com/office/2007/relationships/diagramDrawing" Target="../diagrams/drawing1.xml"/><Relationship Id="rId4" Type="http://schemas.openxmlformats.org/officeDocument/2006/relationships/image" Target="../media/image32.png"/><Relationship Id="rId9" Type="http://schemas.openxmlformats.org/officeDocument/2006/relationships/diagramColors" Target="../diagrams/colors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ndertitel 4">
            <a:extLst>
              <a:ext uri="{FF2B5EF4-FFF2-40B4-BE49-F238E27FC236}">
                <a16:creationId xmlns:a16="http://schemas.microsoft.com/office/drawing/2014/main" xmlns="" id="{3215899E-0EEC-6F49-8301-51EDECCB5328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nl-NL" dirty="0"/>
              <a:t>Branden door lithium-ion batterijen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xmlns="" id="{C0C08F60-98C2-9C44-8633-77727A8B8A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nl-NL" dirty="0"/>
              <a:t>Bert Dikker</a:t>
            </a:r>
          </a:p>
          <a:p>
            <a:r>
              <a:rPr lang="nl-NL" dirty="0"/>
              <a:t>8 mei 2019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xmlns="" id="{C7652385-01DC-8343-9231-383713FE19A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5814760-EF26-9641-B89E-E24268EDE1A5}" type="datetime1">
              <a:rPr lang="nl-NL" smtClean="0"/>
              <a:t>29-4-2019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9598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>
            <a:extLst>
              <a:ext uri="{FF2B5EF4-FFF2-40B4-BE49-F238E27FC236}">
                <a16:creationId xmlns:a16="http://schemas.microsoft.com/office/drawing/2014/main" xmlns="" id="{DCA56502-EA11-E94B-87C8-D0D488041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Enkele </a:t>
            </a:r>
            <a:r>
              <a:rPr lang="nl-NL" dirty="0" smtClean="0"/>
              <a:t>misvattingen</a:t>
            </a:r>
            <a:endParaRPr lang="nl-NL" dirty="0"/>
          </a:p>
        </p:txBody>
      </p:sp>
      <p:pic>
        <p:nvPicPr>
          <p:cNvPr id="8" name="Tijdelijke aanduiding voor afbeelding 7">
            <a:extLst>
              <a:ext uri="{FF2B5EF4-FFF2-40B4-BE49-F238E27FC236}">
                <a16:creationId xmlns:a16="http://schemas.microsoft.com/office/drawing/2014/main" xmlns="" id="{F420AFC4-43F1-5B4B-9E81-E222CC272E3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2278" b="-10801"/>
          <a:stretch/>
        </p:blipFill>
        <p:spPr>
          <a:xfrm>
            <a:off x="7525045" y="908890"/>
            <a:ext cx="4176466" cy="5051676"/>
          </a:xfrm>
          <a:noFill/>
        </p:spPr>
      </p:pic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xmlns="" id="{47E3C00E-7402-4843-8A0D-AD65076B6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xmlns="" id="{8925751A-3A88-A24C-9CB9-46CD5C86841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C80B3684-BAC3-B447-9257-8226D5573066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xmlns="" id="{40CB3BE2-EF09-FF44-B843-AB3F85E9D2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lvl="3"/>
            <a:r>
              <a:rPr lang="nl-NL" dirty="0"/>
              <a:t>“Een batterij van goede cellen is per definitie veilig”</a:t>
            </a:r>
          </a:p>
          <a:p>
            <a:pPr lvl="3"/>
            <a:endParaRPr lang="nl-NL" dirty="0"/>
          </a:p>
          <a:p>
            <a:pPr lvl="3"/>
            <a:r>
              <a:rPr lang="nl-NL" dirty="0"/>
              <a:t>	“Met BMS is een batterij veilig”</a:t>
            </a:r>
          </a:p>
          <a:p>
            <a:pPr lvl="3"/>
            <a:endParaRPr lang="nl-NL" dirty="0"/>
          </a:p>
          <a:p>
            <a:pPr lvl="3"/>
            <a:r>
              <a:rPr lang="nl-NL" dirty="0"/>
              <a:t>“Een batterij kun je het veiligste leeg bewaren”</a:t>
            </a:r>
          </a:p>
          <a:p>
            <a:pPr lvl="3"/>
            <a:endParaRPr lang="nl-NL" dirty="0"/>
          </a:p>
          <a:p>
            <a:pPr lvl="3"/>
            <a:r>
              <a:rPr lang="nl-NL" dirty="0"/>
              <a:t>	“Elke batterij is net zo veilig/onveilig”</a:t>
            </a:r>
          </a:p>
          <a:p>
            <a:pPr lvl="3"/>
            <a:endParaRPr lang="nl-NL" dirty="0"/>
          </a:p>
          <a:p>
            <a:pPr lvl="3"/>
            <a:r>
              <a:rPr lang="nl-NL" dirty="0"/>
              <a:t>“Een batterij brand ontstaat alleen tijdens het laden”</a:t>
            </a:r>
          </a:p>
          <a:p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5106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Toekomstige ontwikkelingen</a:t>
            </a:r>
          </a:p>
        </p:txBody>
      </p:sp>
      <p:pic>
        <p:nvPicPr>
          <p:cNvPr id="7" name="Tijdelijke aanduiding voor afbeelding 6"/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ijdelijke aanduiding voor voet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588BA18-0659-D644-A342-C2E5F067461A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nl-NL" dirty="0"/>
              <a:t>De buurtbatterij of smart storage (huisje of container vol met  lithium-ion batterijen en regelapparatuur). </a:t>
            </a:r>
          </a:p>
          <a:p>
            <a:r>
              <a:rPr lang="nl-NL" dirty="0"/>
              <a:t>Bedoeld om opgewekte stroom ( zonnepanelen) die niet direct nodig is, lokaal op te slaan. </a:t>
            </a:r>
          </a:p>
          <a:p>
            <a:r>
              <a:rPr lang="nl-NL" dirty="0"/>
              <a:t>Of om een eventuele stroomdip van het elektriciteitsnet op te vangen.</a:t>
            </a:r>
          </a:p>
          <a:p>
            <a:r>
              <a:rPr lang="nl-NL" dirty="0"/>
              <a:t>Regelgeving voor deze containers met batterijen ontbreekt. </a:t>
            </a:r>
          </a:p>
          <a:p>
            <a:r>
              <a:rPr lang="nl-NL" dirty="0"/>
              <a:t>Alleen bouwvergunning nodig om een zeecontainer neer te zetten. </a:t>
            </a:r>
          </a:p>
          <a:p>
            <a:r>
              <a:rPr lang="nl-NL" dirty="0"/>
              <a:t>Brandweer weet niet hoeveel het er zijn en waar ze staan. </a:t>
            </a:r>
          </a:p>
          <a:p>
            <a:r>
              <a:rPr lang="nl-NL" dirty="0"/>
              <a:t>Vorig jaar ging een zeecontainer gevuld met lithium-ion-batterijen in brand in België. 40 mensen moesten met ademhalingsproblemen naar het ziekenhuis. In een straal van 5 km giftige gassen meetbaar.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78425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valt er aan te doen</a:t>
            </a:r>
          </a:p>
        </p:txBody>
      </p:sp>
      <p:pic>
        <p:nvPicPr>
          <p:cNvPr id="7" name="Tijdelijke aanduiding voor afbeelding 6"/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ijdelijke aanduiding voor voet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18052B9-6C93-C949-B1D8-4D150024F2C3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nl-NL" dirty="0"/>
              <a:t>Handelingsperspectief</a:t>
            </a:r>
          </a:p>
        </p:txBody>
      </p:sp>
      <p:pic>
        <p:nvPicPr>
          <p:cNvPr id="11266" name="Picture 2" descr="D:\Lithium-ion\bmw-i8-white-brandweer-red-2019-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5958" y="2614963"/>
            <a:ext cx="5309151" cy="3334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9475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Andere preventieve oplossing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Wat doet een sprinkler installatie? </a:t>
            </a:r>
          </a:p>
          <a:p>
            <a:r>
              <a:rPr lang="nl-NL" dirty="0"/>
              <a:t>Aerosol blussystemen al of niet in combinatie met brandwerende opslag kasten en containers.</a:t>
            </a:r>
          </a:p>
        </p:txBody>
      </p:sp>
      <p:pic>
        <p:nvPicPr>
          <p:cNvPr id="2050" name="Picture 2" descr="IMG_073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086" y="2996952"/>
            <a:ext cx="4125318" cy="309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 descr="IMG_066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08623" y="5319498"/>
            <a:ext cx="886595" cy="665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2759" y="2996952"/>
            <a:ext cx="2285602" cy="309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8" name="Picture 2" descr="D:\Lithium-ion\P1030050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53039" y="2996952"/>
            <a:ext cx="4176464" cy="3096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xmlns="" id="{B43F468B-5276-4543-ADB4-E858B2440FF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nl-NL" altLang="nl-NL" dirty="0"/>
              <a:t>Energieopslag, het kan fout gaan</a:t>
            </a:r>
          </a:p>
        </p:txBody>
      </p:sp>
    </p:spTree>
    <p:extLst>
      <p:ext uri="{BB962C8B-B14F-4D97-AF65-F5344CB8AC3E}">
        <p14:creationId xmlns:p14="http://schemas.microsoft.com/office/powerpoint/2010/main" val="641001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Geschikt handblusmiddel</a:t>
            </a:r>
          </a:p>
        </p:txBody>
      </p:sp>
      <p:pic>
        <p:nvPicPr>
          <p:cNvPr id="8" name="Tijdelijke aanduiding voor afbeelding 7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281" t="-23003" r="-15099" b="-11503"/>
          <a:stretch/>
        </p:blipFill>
        <p:spPr>
          <a:xfrm>
            <a:off x="7525045" y="908890"/>
            <a:ext cx="4176466" cy="5051676"/>
          </a:xfrm>
          <a:noFill/>
        </p:spPr>
      </p:pic>
      <p:sp>
        <p:nvSpPr>
          <p:cNvPr id="4" name="Tijdelijke aanduiding voor voet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51C82AF-2362-BD4C-8BCF-40ABB446F360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92500" lnSpcReduction="20000"/>
          </a:bodyPr>
          <a:lstStyle/>
          <a:p>
            <a:r>
              <a:rPr lang="nl-NL" dirty="0"/>
              <a:t>De extreme hitte, gassen en metalen kunnen reguliere blusstoffen niet aan.</a:t>
            </a:r>
          </a:p>
          <a:p>
            <a:r>
              <a:rPr lang="nl-NL" dirty="0"/>
              <a:t>Poeder blust de brand, haalt </a:t>
            </a:r>
            <a:r>
              <a:rPr lang="nl-NL" dirty="0" smtClean="0"/>
              <a:t>de </a:t>
            </a:r>
            <a:r>
              <a:rPr lang="nl-NL" dirty="0"/>
              <a:t>hitte niet uit de accu’s, herontsteking waarschijnlijk.</a:t>
            </a:r>
          </a:p>
          <a:p>
            <a:r>
              <a:rPr lang="nl-NL" dirty="0"/>
              <a:t>CO2 haalt alleen de zuurstof weg, waardoor de vlammen tijdelijk doven, echter zodra gestopt wordt met blussen her-ontsteekt de brandhaard zich door de hitte.</a:t>
            </a:r>
          </a:p>
          <a:p>
            <a:r>
              <a:rPr lang="nl-NL" dirty="0"/>
              <a:t>Schuim is een middel wat goed werkt bij temperaturen tot +/- 600 graden daarna verbrand het schuim waardoor het zijn bluswerking verliest.</a:t>
            </a:r>
          </a:p>
          <a:p>
            <a:r>
              <a:rPr lang="nl-NL" dirty="0"/>
              <a:t>N-EXT combineert het blussend vermogen van de schuimblusser met het grote koelend effect van water. </a:t>
            </a:r>
          </a:p>
          <a:p>
            <a:r>
              <a:rPr lang="nl-NL" dirty="0"/>
              <a:t>Deze blussers bieden bij beperkte Li-ion accu-branden een grotere kans om de brand onder controle te brengen.</a:t>
            </a:r>
          </a:p>
          <a:p>
            <a:r>
              <a:rPr lang="nl-NL" dirty="0"/>
              <a:t>Filmpje blusresultaten</a:t>
            </a:r>
          </a:p>
        </p:txBody>
      </p:sp>
    </p:spTree>
    <p:extLst>
      <p:ext uri="{BB962C8B-B14F-4D97-AF65-F5344CB8AC3E}">
        <p14:creationId xmlns:p14="http://schemas.microsoft.com/office/powerpoint/2010/main" val="1003649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Avéro </a:t>
            </a:r>
            <a:r>
              <a:rPr lang="nl-NL" dirty="0"/>
              <a:t>Achmea </a:t>
            </a:r>
            <a:r>
              <a:rPr lang="nl-NL" dirty="0" smtClean="0"/>
              <a:t>is uw kennispartner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68263" y="2060848"/>
            <a:ext cx="11235553" cy="3885082"/>
          </a:xfrm>
        </p:spPr>
        <p:txBody>
          <a:bodyPr>
            <a:normAutofit/>
          </a:bodyPr>
          <a:lstStyle/>
          <a:p>
            <a:r>
              <a:rPr lang="nl-NL" dirty="0" smtClean="0"/>
              <a:t>Ons t</a:t>
            </a:r>
            <a:r>
              <a:rPr lang="nl-NL" dirty="0" smtClean="0"/>
              <a:t>eam Risicodeskundigheid staat met ca</a:t>
            </a:r>
            <a:r>
              <a:rPr lang="nl-NL" dirty="0"/>
              <a:t>. 30 risicospecialisten met verschillende </a:t>
            </a:r>
            <a:r>
              <a:rPr lang="nl-NL" dirty="0" smtClean="0"/>
              <a:t>kennisdomeinen voor u klaar om dagelijks </a:t>
            </a:r>
            <a:r>
              <a:rPr lang="nl-NL" dirty="0"/>
              <a:t>risico’s te inventariseren, analyseren en hierover te adviseren.</a:t>
            </a:r>
          </a:p>
          <a:p>
            <a:r>
              <a:rPr lang="nl-NL" dirty="0" smtClean="0"/>
              <a:t>Ook bij specialistische </a:t>
            </a:r>
            <a:r>
              <a:rPr lang="nl-NL" dirty="0"/>
              <a:t>brand- en brandbedrijfsschaderisico’s bij (internationaal opererende) klanten.</a:t>
            </a:r>
          </a:p>
          <a:p>
            <a:r>
              <a:rPr lang="nl-NL" dirty="0" smtClean="0"/>
              <a:t>En m</a:t>
            </a:r>
            <a:r>
              <a:rPr lang="nl-NL" dirty="0" smtClean="0"/>
              <a:t>et </a:t>
            </a:r>
            <a:r>
              <a:rPr lang="nl-NL" dirty="0"/>
              <a:t>grote verzekerde belangen en/of complexiteit aan producten, middelen en processen</a:t>
            </a:r>
          </a:p>
          <a:p>
            <a:r>
              <a:rPr lang="nl-NL" dirty="0"/>
              <a:t>Met als doel risico’s in het brede en specialistische vakgebied brand te beheersen en reduceren.</a:t>
            </a:r>
          </a:p>
          <a:p>
            <a:pPr marL="0" indent="0">
              <a:buNone/>
            </a:pPr>
            <a:endParaRPr lang="nl-NL" dirty="0"/>
          </a:p>
          <a:p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nl-NL" altLang="nl-NL" dirty="0"/>
              <a:t>Energieopslag, het kan fout gaan</a:t>
            </a:r>
          </a:p>
        </p:txBody>
      </p:sp>
    </p:spTree>
    <p:extLst>
      <p:ext uri="{BB962C8B-B14F-4D97-AF65-F5344CB8AC3E}">
        <p14:creationId xmlns:p14="http://schemas.microsoft.com/office/powerpoint/2010/main" val="802817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88C4AD9-A44E-AC47-A723-6D2F07976834}" type="datetime1">
              <a:rPr lang="nl-NL" smtClean="0"/>
              <a:t>29-4-2019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56102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jdelijke aanduiding voor afbeelding 7" descr="Afbeelding met buiten, water, outdoor-object, ster&#10;&#10;Automatisch gegenereerde beschrijving">
            <a:extLst>
              <a:ext uri="{FF2B5EF4-FFF2-40B4-BE49-F238E27FC236}">
                <a16:creationId xmlns:a16="http://schemas.microsoft.com/office/drawing/2014/main" xmlns="" id="{19CC2868-77F1-1E48-B3D0-40A74CB9DF1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8262" y="908890"/>
            <a:ext cx="11233249" cy="5051676"/>
          </a:xfrm>
        </p:spPr>
      </p:pic>
      <p:sp>
        <p:nvSpPr>
          <p:cNvPr id="4" name="Tijdelijke aanduiding voor voet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 dirty="0"/>
              <a:t>Energieopslag, het kan fout gaa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8E8C6C1B-785D-1948-9CA9-9A9D09851493}" type="datetime1">
              <a:rPr lang="nl-NL" smtClean="0"/>
              <a:t>29-4-2019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96114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et fenomeen</a:t>
            </a:r>
          </a:p>
        </p:txBody>
      </p:sp>
      <p:pic>
        <p:nvPicPr>
          <p:cNvPr id="11" name="Tijdelijke aanduiding voor afbeelding 10"/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ijdelijke aanduiding voor voet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>
                <a:solidFill>
                  <a:srgbClr val="909AA3"/>
                </a:solidFill>
              </a:rPr>
              <a:t>Energieopslag, het kan fout gaan</a:t>
            </a:r>
            <a:endParaRPr lang="nl-NL" dirty="0">
              <a:solidFill>
                <a:srgbClr val="909AA3"/>
              </a:solidFill>
            </a:endParaRP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FB9C76D-BAA5-7A43-8269-E931070EFF2A}" type="datetime1">
              <a:rPr lang="nl-NL" smtClean="0">
                <a:solidFill>
                  <a:srgbClr val="909AA3"/>
                </a:solidFill>
              </a:rPr>
              <a:t>29-4-2019</a:t>
            </a:fld>
            <a:endParaRPr lang="nl-NL" dirty="0">
              <a:solidFill>
                <a:srgbClr val="909AA3"/>
              </a:solidFill>
            </a:endParaRPr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lnSpcReduction="10000"/>
          </a:bodyPr>
          <a:lstStyle/>
          <a:p>
            <a:r>
              <a:rPr lang="nl-NL" dirty="0"/>
              <a:t>Van een hoop nieuwe producten weten we vaak niet precies wat er mee gebeurt tijdens een brand en wat daarvan de gevolgen zijn.  </a:t>
            </a:r>
          </a:p>
          <a:p>
            <a:r>
              <a:rPr lang="nl-NL" dirty="0"/>
              <a:t>Dat geldt ook voor lithium-ion batterijen, die je door de sterke toename in gebruik, zowel in aantal als in volume, steeds vaker ziet.</a:t>
            </a:r>
          </a:p>
          <a:p>
            <a:r>
              <a:rPr lang="nl-NL" dirty="0"/>
              <a:t>Lithium-ion batterijen zijn populair door het geringe gewicht, de hoge energiedichtheid en de herlaadbaarheid.</a:t>
            </a:r>
          </a:p>
          <a:p>
            <a:r>
              <a:rPr lang="nl-NL" dirty="0"/>
              <a:t>We hebben vaker brand en die zijn moeilijk te bestrijden, door brandbare rookgassen, explosies, steekvlammen en meerdere brandhaarden.</a:t>
            </a:r>
          </a:p>
          <a:p>
            <a:r>
              <a:rPr lang="nl-NL" dirty="0"/>
              <a:t>Nog geen effectief blusprotocol Brandweer en regelgeving (PGS15/37). </a:t>
            </a:r>
          </a:p>
          <a:p>
            <a:r>
              <a:rPr lang="nl-NL" dirty="0"/>
              <a:t>Schadebedragen stijgen in aantal en omvang, vaker een totaal verlies.</a:t>
            </a:r>
          </a:p>
          <a:p>
            <a:pPr marL="0" indent="0">
              <a:buNone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7834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gaat er fout</a:t>
            </a:r>
          </a:p>
        </p:txBody>
      </p:sp>
      <p:pic>
        <p:nvPicPr>
          <p:cNvPr id="9" name="Tijdelijke aanduiding voor afbeelding 8"/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ijdelijke aanduiding voor voet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D503694-BC6E-F147-91AB-2C9D1C00C87C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l-NL" dirty="0">
                <a:hlinkClick r:id="rId3"/>
              </a:rPr>
              <a:t>https://www.youtube.com/results?search_query=thermal+runaway+lithium+ion+battery</a:t>
            </a:r>
            <a:r>
              <a:rPr lang="nl-NL" dirty="0"/>
              <a:t>      </a:t>
            </a:r>
          </a:p>
          <a:p>
            <a:pPr marL="0" indent="0">
              <a:buNone/>
            </a:pPr>
            <a:r>
              <a:rPr lang="nl-NL" dirty="0" smtClean="0"/>
              <a:t>Bij</a:t>
            </a:r>
            <a:endParaRPr lang="nl-NL" dirty="0"/>
          </a:p>
          <a:p>
            <a:r>
              <a:rPr lang="nl-NL" dirty="0"/>
              <a:t>verkeerd </a:t>
            </a:r>
            <a:r>
              <a:rPr lang="nl-NL" dirty="0" smtClean="0"/>
              <a:t>gebruik </a:t>
            </a:r>
            <a:endParaRPr lang="nl-NL" dirty="0"/>
          </a:p>
          <a:p>
            <a:r>
              <a:rPr lang="nl-NL" dirty="0" smtClean="0"/>
              <a:t>beschadiging </a:t>
            </a:r>
            <a:endParaRPr lang="nl-NL" dirty="0"/>
          </a:p>
          <a:p>
            <a:r>
              <a:rPr lang="nl-NL" dirty="0"/>
              <a:t>onjuist </a:t>
            </a:r>
            <a:r>
              <a:rPr lang="nl-NL" dirty="0" smtClean="0"/>
              <a:t>verpakt </a:t>
            </a:r>
            <a:endParaRPr lang="nl-NL" dirty="0"/>
          </a:p>
          <a:p>
            <a:r>
              <a:rPr lang="nl-NL" dirty="0" smtClean="0"/>
              <a:t>overladen/onderladen  </a:t>
            </a:r>
            <a:endParaRPr lang="nl-NL" dirty="0"/>
          </a:p>
          <a:p>
            <a:r>
              <a:rPr lang="nl-NL" dirty="0" smtClean="0"/>
              <a:t>defect </a:t>
            </a:r>
            <a:endParaRPr lang="nl-NL" dirty="0"/>
          </a:p>
          <a:p>
            <a:r>
              <a:rPr lang="nl-NL" dirty="0"/>
              <a:t>slecht geconstrueerd </a:t>
            </a:r>
          </a:p>
          <a:p>
            <a:pPr marL="0" indent="0">
              <a:buNone/>
            </a:pPr>
            <a:r>
              <a:rPr lang="nl-NL" dirty="0"/>
              <a:t>k</a:t>
            </a:r>
            <a:r>
              <a:rPr lang="nl-NL" dirty="0" smtClean="0"/>
              <a:t>an </a:t>
            </a:r>
            <a:r>
              <a:rPr lang="nl-NL" dirty="0"/>
              <a:t>een batterij instabiel raken en brand veroorzaken.  </a:t>
            </a:r>
          </a:p>
          <a:p>
            <a:pPr marL="0" indent="0">
              <a:buNone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92230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oe vaak is dit oorzaak van brand</a:t>
            </a:r>
          </a:p>
        </p:txBody>
      </p:sp>
      <p:pic>
        <p:nvPicPr>
          <p:cNvPr id="7" name="Tijdelijke aanduiding voor afbeelding 6"/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ijdelijke aanduiding voor voet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D6425C1-50CF-0B44-9B1B-4F715D97E1F0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l-NL" dirty="0"/>
              <a:t>E-bike: </a:t>
            </a:r>
            <a:r>
              <a:rPr lang="nl-NL" dirty="0" smtClean="0"/>
              <a:t>5 jaar </a:t>
            </a:r>
            <a:r>
              <a:rPr lang="nl-NL" dirty="0"/>
              <a:t>geleden 2x keer per jaar, nu 2x per </a:t>
            </a:r>
            <a:r>
              <a:rPr lang="nl-NL" dirty="0" smtClean="0"/>
              <a:t>week</a:t>
            </a:r>
            <a:endParaRPr lang="nl-NL" dirty="0"/>
          </a:p>
          <a:p>
            <a:r>
              <a:rPr lang="nl-NL" dirty="0"/>
              <a:t>Goed brandonderzoek en vastlegging van deze </a:t>
            </a:r>
            <a:r>
              <a:rPr lang="nl-NL" dirty="0" smtClean="0"/>
              <a:t>oorzaak</a:t>
            </a:r>
            <a:endParaRPr lang="nl-NL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5958" y="2996951"/>
            <a:ext cx="5663330" cy="29636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4379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>
            <a:extLst>
              <a:ext uri="{FF2B5EF4-FFF2-40B4-BE49-F238E27FC236}">
                <a16:creationId xmlns:a16="http://schemas.microsoft.com/office/drawing/2014/main" xmlns="" id="{DCA56502-EA11-E94B-87C8-D0D488041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t gebeurt er (</a:t>
            </a:r>
            <a:r>
              <a:rPr lang="nl-NL" dirty="0" err="1"/>
              <a:t>Thermal</a:t>
            </a:r>
            <a:r>
              <a:rPr lang="nl-NL" dirty="0"/>
              <a:t> </a:t>
            </a:r>
            <a:r>
              <a:rPr lang="nl-NL" dirty="0" err="1"/>
              <a:t>runaway</a:t>
            </a:r>
            <a:r>
              <a:rPr lang="nl-NL" dirty="0"/>
              <a:t>) </a:t>
            </a: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xmlns="" id="{47E3C00E-7402-4843-8A0D-AD65076B6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xmlns="" id="{8925751A-3A88-A24C-9CB9-46CD5C86841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8582956-42E6-CC4E-A33F-5EB8CBFB81C4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xmlns="" id="{999D555E-40C1-5144-996B-8A0D960307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nl-NL" dirty="0" smtClean="0"/>
              <a:t>2 </a:t>
            </a:r>
            <a:r>
              <a:rPr lang="nl-NL" dirty="0"/>
              <a:t>dicht op elkaar gepakte elektroden, een koolstof anode en een lithiummetaaloxide kathode. </a:t>
            </a:r>
          </a:p>
          <a:p>
            <a:r>
              <a:rPr lang="nl-NL" dirty="0"/>
              <a:t>Hiertussen bevindt zich een ultradunne polymeer separator. </a:t>
            </a:r>
          </a:p>
          <a:p>
            <a:r>
              <a:rPr lang="nl-NL" dirty="0"/>
              <a:t>De separator scheidt de elektroden en als deze beschadigd is, kan er kortsluiting ontstaan waardoor de ontvlambare elektrolytoplossing, die de ionen transporteert, kan ontbranden.</a:t>
            </a:r>
          </a:p>
          <a:p>
            <a:r>
              <a:rPr lang="nl-NL" dirty="0"/>
              <a:t>Het barsten van accucellen door deze opwarming en het ontbranden van het vloeibare elektrolyt, is naast explosiegevaar het grootste risico voor het ontstaan van brand. </a:t>
            </a:r>
          </a:p>
          <a:p>
            <a:r>
              <a:rPr lang="nl-NL" dirty="0"/>
              <a:t>Een zelfversterkend chemisch proces waarbij het lithium heftig gaat reageren met de andere materialen in de batterij.</a:t>
            </a:r>
          </a:p>
          <a:p>
            <a:endParaRPr lang="nl-NL" dirty="0"/>
          </a:p>
          <a:p>
            <a:endParaRPr lang="nl-NL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xmlns="" id="{3211B565-6D89-41F4-AE0C-D30FC69D9AF2}"/>
              </a:ext>
            </a:extLst>
          </p:cNvPr>
          <p:cNvPicPr/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16489" y="2016189"/>
            <a:ext cx="4185022" cy="211520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xmlns="" id="{30EA4A0A-C032-4CB4-B82B-D31687901D43}"/>
              </a:ext>
            </a:extLst>
          </p:cNvPr>
          <p:cNvPicPr/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22739" y="3881222"/>
            <a:ext cx="4179520" cy="209670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170" name="Picture 2" descr="D:\Lithium-ion\proces thermal runaway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13363" y="879342"/>
            <a:ext cx="4185841" cy="1140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7229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>
            <a:extLst>
              <a:ext uri="{FF2B5EF4-FFF2-40B4-BE49-F238E27FC236}">
                <a16:creationId xmlns:a16="http://schemas.microsoft.com/office/drawing/2014/main" xmlns="" id="{DCA56502-EA11-E94B-87C8-D0D488041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pbouw batterij</a:t>
            </a:r>
          </a:p>
        </p:txBody>
      </p:sp>
      <p:sp>
        <p:nvSpPr>
          <p:cNvPr id="11" name="Tijdelijke aanduiding voor inhoud 10">
            <a:extLst>
              <a:ext uri="{FF2B5EF4-FFF2-40B4-BE49-F238E27FC236}">
                <a16:creationId xmlns:a16="http://schemas.microsoft.com/office/drawing/2014/main" xmlns="" id="{A59BD1BD-2C36-FD40-BA8D-9316FF993D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958" y="4874624"/>
            <a:ext cx="11235553" cy="1071305"/>
          </a:xfrm>
        </p:spPr>
        <p:txBody>
          <a:bodyPr/>
          <a:lstStyle/>
          <a:p>
            <a:r>
              <a:rPr lang="nl-NL" dirty="0"/>
              <a:t>Van componenten naar cel naar module &amp; pack naar </a:t>
            </a:r>
            <a:r>
              <a:rPr lang="nl-NL" dirty="0" smtClean="0"/>
              <a:t>toepassing</a:t>
            </a:r>
            <a:endParaRPr lang="nl-NL" dirty="0"/>
          </a:p>
          <a:p>
            <a:r>
              <a:rPr lang="nl-NL" dirty="0"/>
              <a:t>Intelligentie toegevoegd vanaf batterij module (</a:t>
            </a:r>
            <a:r>
              <a:rPr lang="nl-NL" dirty="0" err="1"/>
              <a:t>battery</a:t>
            </a:r>
            <a:r>
              <a:rPr lang="nl-NL" dirty="0"/>
              <a:t> management system)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xmlns="" id="{47E3C00E-7402-4843-8A0D-AD65076B62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nl-NL"/>
              <a:t>Energieopslag, het kan fout gaan</a:t>
            </a:r>
            <a:endParaRPr lang="nl-NL" dirty="0"/>
          </a:p>
        </p:txBody>
      </p:sp>
      <p:pic>
        <p:nvPicPr>
          <p:cNvPr id="20" name="Afbeelding 19">
            <a:extLst>
              <a:ext uri="{FF2B5EF4-FFF2-40B4-BE49-F238E27FC236}">
                <a16:creationId xmlns:a16="http://schemas.microsoft.com/office/drawing/2014/main" xmlns="" id="{A4124E92-BB81-48C4-A00D-EC78C12D38B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51919" y="2316728"/>
            <a:ext cx="564315" cy="753966"/>
          </a:xfrm>
          <a:prstGeom prst="rect">
            <a:avLst/>
          </a:prstGeom>
        </p:spPr>
      </p:pic>
      <p:pic>
        <p:nvPicPr>
          <p:cNvPr id="21" name="Picture 2" descr="Figure 6. Schematic of the battery cell-module-pack design of the Nissan Altra.">
            <a:extLst>
              <a:ext uri="{FF2B5EF4-FFF2-40B4-BE49-F238E27FC236}">
                <a16:creationId xmlns:a16="http://schemas.microsoft.com/office/drawing/2014/main" xmlns="" id="{C58CD5BB-7674-4DB1-8037-6795FD2DA4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68663" y="2405632"/>
            <a:ext cx="810523" cy="732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Figure 6. Schematic of the battery cell-module-pack design of the Nissan Altra.">
            <a:extLst>
              <a:ext uri="{FF2B5EF4-FFF2-40B4-BE49-F238E27FC236}">
                <a16:creationId xmlns:a16="http://schemas.microsoft.com/office/drawing/2014/main" xmlns="" id="{0453BAB3-A18B-4D7C-8EDF-34C7F8B35F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49183" y="2316728"/>
            <a:ext cx="2180315" cy="711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Figure 6. Schematic of the battery cell-module-pack design of the Nissan Altra.">
            <a:extLst>
              <a:ext uri="{FF2B5EF4-FFF2-40B4-BE49-F238E27FC236}">
                <a16:creationId xmlns:a16="http://schemas.microsoft.com/office/drawing/2014/main" xmlns="" id="{447E4AA8-5100-461A-85B4-45279100D5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64962" y="2169148"/>
            <a:ext cx="1608264" cy="968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E1755DEC-9E35-3C4B-8928-7E29B9B039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090177"/>
              </p:ext>
            </p:extLst>
          </p:nvPr>
        </p:nvGraphicFramePr>
        <p:xfrm>
          <a:off x="465957" y="3429000"/>
          <a:ext cx="11235554" cy="847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411321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Tijdelijke aanduiding voor afbeelding 11" descr="Afbeelding met binnen&#10;&#10;Automatisch gegenereerde beschrijving">
            <a:extLst>
              <a:ext uri="{FF2B5EF4-FFF2-40B4-BE49-F238E27FC236}">
                <a16:creationId xmlns:a16="http://schemas.microsoft.com/office/drawing/2014/main" xmlns="" id="{DB8E51A3-4A70-5148-947B-0A58D16AEE2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68263" y="908890"/>
            <a:ext cx="4899732" cy="3600230"/>
          </a:xfrm>
        </p:spPr>
      </p:pic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xmlns="" id="{47E3C00E-7402-4843-8A0D-AD65076B6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xmlns="" id="{8925751A-3A88-A24C-9CB9-46CD5C86841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2954D3B-A53D-8F48-9FD1-792816B00F29}" type="datetime1">
              <a:rPr lang="nl-NL" smtClean="0"/>
              <a:t>29-4-2019</a:t>
            </a:fld>
            <a:endParaRPr lang="nl-NL" dirty="0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66842941"/>
              </p:ext>
            </p:extLst>
          </p:nvPr>
        </p:nvGraphicFramePr>
        <p:xfrm>
          <a:off x="5436815" y="908720"/>
          <a:ext cx="5616624" cy="46085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381393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3">
            <a:extLst>
              <a:ext uri="{FF2B5EF4-FFF2-40B4-BE49-F238E27FC236}">
                <a16:creationId xmlns:a16="http://schemas.microsoft.com/office/drawing/2014/main" xmlns="" id="{DCA56502-EA11-E94B-87C8-D0D488041A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Cruciale onderdelen voor veiligheid</a:t>
            </a:r>
          </a:p>
        </p:txBody>
      </p:sp>
      <p:pic>
        <p:nvPicPr>
          <p:cNvPr id="8" name="Tijdelijke aanduiding voor afbeelding 7" descr="Afbeelding met elektronica, circuit&#10;&#10;Automatisch gegenereerde beschrijving">
            <a:extLst>
              <a:ext uri="{FF2B5EF4-FFF2-40B4-BE49-F238E27FC236}">
                <a16:creationId xmlns:a16="http://schemas.microsoft.com/office/drawing/2014/main" xmlns="" id="{1A813DDC-DC36-D444-B25A-49E0D803B05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791" t="-42310" r="-6139" b="-42728"/>
          <a:stretch/>
        </p:blipFill>
        <p:spPr>
          <a:xfrm>
            <a:off x="7525045" y="908890"/>
            <a:ext cx="4176466" cy="5051676"/>
          </a:xfrm>
          <a:noFill/>
        </p:spPr>
      </p:pic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xmlns="" id="{47E3C00E-7402-4843-8A0D-AD65076B6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NL"/>
              <a:t>Energieopslag, het kan fout gaan</a:t>
            </a:r>
            <a:endParaRPr lang="nl-NL" dirty="0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xmlns="" id="{8925751A-3A88-A24C-9CB9-46CD5C86841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7087FDDD-9AB3-3A44-A3F1-EAECB4EB7C41}" type="datetime1">
              <a:rPr lang="nl-NL" smtClean="0"/>
              <a:t>29-4-2019</a:t>
            </a:fld>
            <a:endParaRPr lang="nl-NL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xmlns="" id="{4FA7EF4A-F406-484D-A595-0A540E4D6A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r>
              <a:rPr lang="nl-NL" dirty="0"/>
              <a:t>Veilige cellen</a:t>
            </a:r>
          </a:p>
          <a:p>
            <a:r>
              <a:rPr lang="nl-NL" dirty="0"/>
              <a:t>Behuizing</a:t>
            </a:r>
          </a:p>
          <a:p>
            <a:pPr lvl="1"/>
            <a:r>
              <a:rPr lang="nl-NL" dirty="0"/>
              <a:t>Thermische isolatie.</a:t>
            </a:r>
          </a:p>
          <a:p>
            <a:pPr lvl="1"/>
            <a:r>
              <a:rPr lang="nl-NL" dirty="0"/>
              <a:t>Bescherming tegen impact.</a:t>
            </a:r>
          </a:p>
          <a:p>
            <a:pPr lvl="1"/>
            <a:r>
              <a:rPr lang="nl-NL" dirty="0"/>
              <a:t>Voorkomen van verspreiding vloeistoffen uit brandende cellen, warmteafvoer en ingebouwd blussysteem.</a:t>
            </a:r>
          </a:p>
          <a:p>
            <a:r>
              <a:rPr lang="nl-NL" dirty="0" err="1"/>
              <a:t>Battery</a:t>
            </a:r>
            <a:r>
              <a:rPr lang="nl-NL" dirty="0"/>
              <a:t> management systeem</a:t>
            </a:r>
          </a:p>
          <a:p>
            <a:pPr lvl="1"/>
            <a:r>
              <a:rPr lang="nl-NL" dirty="0"/>
              <a:t>Voorkomen cel niveau defect.</a:t>
            </a:r>
          </a:p>
          <a:p>
            <a:pPr lvl="1"/>
            <a:r>
              <a:rPr lang="nl-NL" dirty="0"/>
              <a:t>Zekeringen &amp; schakelaars.</a:t>
            </a:r>
          </a:p>
          <a:p>
            <a:pPr lvl="1"/>
            <a:r>
              <a:rPr lang="nl-NL" dirty="0"/>
              <a:t>Actie ondernemen bij fouten.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9531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Avero kleurenpallet">
      <a:dk1>
        <a:srgbClr val="E13214"/>
      </a:dk1>
      <a:lt1>
        <a:srgbClr val="F09889"/>
      </a:lt1>
      <a:dk2>
        <a:srgbClr val="125BA2"/>
      </a:dk2>
      <a:lt2>
        <a:srgbClr val="88ADD0"/>
      </a:lt2>
      <a:accent1>
        <a:srgbClr val="677140"/>
      </a:accent1>
      <a:accent2>
        <a:srgbClr val="BE321A"/>
      </a:accent2>
      <a:accent3>
        <a:srgbClr val="18518B"/>
      </a:accent3>
      <a:accent4>
        <a:srgbClr val="9D8C70"/>
      </a:accent4>
      <a:accent5>
        <a:srgbClr val="203649"/>
      </a:accent5>
      <a:accent6>
        <a:srgbClr val="909AA3"/>
      </a:accent6>
      <a:hlink>
        <a:srgbClr val="125BA2"/>
      </a:hlink>
      <a:folHlink>
        <a:srgbClr val="125BA2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43</TotalTime>
  <Words>833</Words>
  <Application>Microsoft Office PowerPoint</Application>
  <PresentationFormat>Aangepast</PresentationFormat>
  <Paragraphs>131</Paragraphs>
  <Slides>16</Slides>
  <Notes>1</Notes>
  <HiddenSlides>0</HiddenSlides>
  <MMClips>0</MMClips>
  <ScaleCrop>false</ScaleCrop>
  <HeadingPairs>
    <vt:vector size="6" baseType="variant"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6</vt:i4>
      </vt:variant>
    </vt:vector>
  </HeadingPairs>
  <TitlesOfParts>
    <vt:vector size="18" baseType="lpstr">
      <vt:lpstr>Default Theme</vt:lpstr>
      <vt:lpstr>think-cell Slide</vt:lpstr>
      <vt:lpstr>PowerPoint-presentatie</vt:lpstr>
      <vt:lpstr>PowerPoint-presentatie</vt:lpstr>
      <vt:lpstr>Het fenomeen</vt:lpstr>
      <vt:lpstr>Wat gaat er fout</vt:lpstr>
      <vt:lpstr>Hoe vaak is dit oorzaak van brand</vt:lpstr>
      <vt:lpstr>Wat gebeurt er (Thermal runaway) </vt:lpstr>
      <vt:lpstr>Opbouw batterij</vt:lpstr>
      <vt:lpstr>PowerPoint-presentatie</vt:lpstr>
      <vt:lpstr>Cruciale onderdelen voor veiligheid</vt:lpstr>
      <vt:lpstr>Enkele misvattingen</vt:lpstr>
      <vt:lpstr>Toekomstige ontwikkelingen</vt:lpstr>
      <vt:lpstr>Wat valt er aan te doen</vt:lpstr>
      <vt:lpstr>Andere preventieve oplossingen</vt:lpstr>
      <vt:lpstr>Geschikt handblusmiddel</vt:lpstr>
      <vt:lpstr> Avéro Achmea is uw kennispartner</vt:lpstr>
      <vt:lpstr>PowerPoint-presentati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Microsoft Office-gebruiker</dc:creator>
  <cp:lastModifiedBy>Boer-Aalders, MBP (Marieke)</cp:lastModifiedBy>
  <cp:revision>137</cp:revision>
  <dcterms:created xsi:type="dcterms:W3CDTF">2018-05-23T11:21:03Z</dcterms:created>
  <dcterms:modified xsi:type="dcterms:W3CDTF">2019-04-29T09:36:06Z</dcterms:modified>
</cp:coreProperties>
</file>